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4" r:id="rId1"/>
    <p:sldMasterId id="2147483762" r:id="rId2"/>
    <p:sldMasterId id="2147484090" r:id="rId3"/>
    <p:sldMasterId id="2147484102" r:id="rId4"/>
    <p:sldMasterId id="2147484192" r:id="rId5"/>
    <p:sldMasterId id="2147485015" r:id="rId6"/>
  </p:sldMasterIdLst>
  <p:notesMasterIdLst>
    <p:notesMasterId r:id="rId12"/>
  </p:notesMasterIdLst>
  <p:handoutMasterIdLst>
    <p:handoutMasterId r:id="rId13"/>
  </p:handoutMasterIdLst>
  <p:sldIdLst>
    <p:sldId id="455" r:id="rId7"/>
    <p:sldId id="410" r:id="rId8"/>
    <p:sldId id="452" r:id="rId9"/>
    <p:sldId id="453" r:id="rId10"/>
    <p:sldId id="454" r:id="rId11"/>
  </p:sldIdLst>
  <p:sldSz cx="10688638" cy="7562850"/>
  <p:notesSz cx="6789738" cy="9929813"/>
  <p:defaultTextStyle>
    <a:defPPr>
      <a:defRPr lang="fr-FR"/>
    </a:defPPr>
    <a:lvl1pPr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519113" indent="-61913"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1039813" indent="-125413"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562100" indent="-190500"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2082800" indent="-254000"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95BE"/>
    <a:srgbClr val="00759F"/>
    <a:srgbClr val="005073"/>
    <a:srgbClr val="64AC73"/>
    <a:srgbClr val="EB6E55"/>
    <a:srgbClr val="A10A5E"/>
    <a:srgbClr val="C4D11A"/>
    <a:srgbClr val="0099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718" autoAdjust="0"/>
  </p:normalViewPr>
  <p:slideViewPr>
    <p:cSldViewPr snapToObjects="1">
      <p:cViewPr>
        <p:scale>
          <a:sx n="90" d="100"/>
          <a:sy n="90" d="100"/>
        </p:scale>
        <p:origin x="-1698" y="-216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520636" eaLnBrk="1" hangingPunct="1">
              <a:defRPr sz="1200">
                <a:latin typeface="Calibri" pitchFamily="34" charset="0"/>
                <a:ea typeface="Geneva" pitchFamily="-110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defTabSz="520636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6E770A27-34E2-45FD-AEDD-2A2F0188EB60}" type="datetime1">
              <a:rPr lang="fr-FR"/>
              <a:pPr>
                <a:defRPr/>
              </a:pPr>
              <a:t>10/05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defTabSz="520636" eaLnBrk="1" hangingPunct="1">
              <a:defRPr sz="1200">
                <a:latin typeface="Calibri" pitchFamily="34" charset="0"/>
                <a:ea typeface="Geneva" pitchFamily="-110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defTabSz="520636" eaLnBrk="1" hangingPunct="1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01B4C02-CA1C-4EE9-9B83-18620E5D490F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22896741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520636" eaLnBrk="1" hangingPunct="1">
              <a:defRPr sz="1200">
                <a:latin typeface="Calibri" pitchFamily="34" charset="0"/>
                <a:ea typeface="Geneva" pitchFamily="-110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defTabSz="520636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F097763C-B355-4CD9-BD8E-F2D8CB920F11}" type="datetime1">
              <a:rPr lang="fr-FR"/>
              <a:pPr>
                <a:defRPr/>
              </a:pPr>
              <a:t>10/05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63588" y="744538"/>
            <a:ext cx="5262562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fr-FR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0838" cy="44688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defTabSz="520636" eaLnBrk="1" hangingPunct="1">
              <a:defRPr sz="1200">
                <a:latin typeface="Calibri" pitchFamily="34" charset="0"/>
                <a:ea typeface="Geneva" pitchFamily="-110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defTabSz="520636" eaLnBrk="1" hangingPunct="1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42BC628-CE58-430D-B8F1-7989B2CA3570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92777275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MS PGothic" panose="020B0600070205080204" pitchFamily="34" charset="-128"/>
        <a:cs typeface="Geneva" charset="0"/>
      </a:defRPr>
    </a:lvl1pPr>
    <a:lvl2pPr marL="519113"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pitchFamily="-110" charset="-128"/>
        <a:cs typeface="Geneva" charset="0"/>
      </a:defRPr>
    </a:lvl2pPr>
    <a:lvl3pPr marL="1039813"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pitchFamily="-110" charset="-128"/>
        <a:cs typeface="Geneva" charset="0"/>
      </a:defRPr>
    </a:lvl3pPr>
    <a:lvl4pPr marL="1562100"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pitchFamily="-110" charset="-128"/>
        <a:cs typeface="Geneva" charset="0"/>
      </a:defRPr>
    </a:lvl4pPr>
    <a:lvl5pPr marL="2082800"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pitchFamily="-110" charset="-128"/>
        <a:cs typeface="Geneva" charset="0"/>
      </a:defRPr>
    </a:lvl5pPr>
    <a:lvl6pPr marL="2606860" algn="l" defTabSz="5213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233" algn="l" defTabSz="5213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9605" algn="l" defTabSz="5213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0977" algn="l" defTabSz="5213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wmf"/><Relationship Id="rId13" Type="http://schemas.openxmlformats.org/officeDocument/2006/relationships/image" Target="../media/image15.png"/><Relationship Id="rId3" Type="http://schemas.openxmlformats.org/officeDocument/2006/relationships/image" Target="../media/image5.wmf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wmf"/><Relationship Id="rId11" Type="http://schemas.openxmlformats.org/officeDocument/2006/relationships/image" Target="../media/image13.png"/><Relationship Id="rId5" Type="http://schemas.openxmlformats.org/officeDocument/2006/relationships/image" Target="../media/image7.wmf"/><Relationship Id="rId10" Type="http://schemas.openxmlformats.org/officeDocument/2006/relationships/image" Target="../media/image12.wmf"/><Relationship Id="rId4" Type="http://schemas.openxmlformats.org/officeDocument/2006/relationships/image" Target="../media/image6.wmf"/><Relationship Id="rId9" Type="http://schemas.openxmlformats.org/officeDocument/2006/relationships/image" Target="../media/image11.wmf"/><Relationship Id="rId14" Type="http://schemas.openxmlformats.org/officeDocument/2006/relationships/image" Target="../media/image16.w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19.jpe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" descr="ENTREE-PPT_15sep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658520" y="2600324"/>
            <a:ext cx="5257800" cy="1371600"/>
          </a:xfrm>
          <a:prstGeom prst="rect">
            <a:avLst/>
          </a:prstGeom>
        </p:spPr>
        <p:txBody>
          <a:bodyPr vert="horz" lIns="91428" tIns="45715" rIns="91428" bIns="45715"/>
          <a:lstStyle>
            <a:lvl1pPr algn="l">
              <a:defRPr sz="38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658520" y="4048125"/>
            <a:ext cx="5257800" cy="6096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736770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5" descr="SANOFI_Logo_H_2011_Quadri copi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16750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56"/>
            <a:ext cx="9085342" cy="1502066"/>
          </a:xfrm>
        </p:spPr>
        <p:txBody>
          <a:bodyPr/>
          <a:lstStyle>
            <a:lvl1pPr algn="l">
              <a:defRPr sz="46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60"/>
            <a:ext cx="9085342" cy="1654373"/>
          </a:xfrm>
        </p:spPr>
        <p:txBody>
          <a:bodyPr anchor="b"/>
          <a:lstStyle>
            <a:lvl1pPr marL="0" indent="0">
              <a:buNone/>
              <a:defRPr sz="2300"/>
            </a:lvl1pPr>
            <a:lvl2pPr marL="521373" indent="0">
              <a:buNone/>
              <a:defRPr sz="2100"/>
            </a:lvl2pPr>
            <a:lvl3pPr marL="1042744" indent="0">
              <a:buNone/>
              <a:defRPr sz="1800"/>
            </a:lvl3pPr>
            <a:lvl4pPr marL="1564117" indent="0">
              <a:buNone/>
              <a:defRPr sz="1600"/>
            </a:lvl4pPr>
            <a:lvl5pPr marL="2085489" indent="0">
              <a:buNone/>
              <a:defRPr sz="1600"/>
            </a:lvl5pPr>
            <a:lvl6pPr marL="2606860" indent="0">
              <a:buNone/>
              <a:defRPr sz="1600"/>
            </a:lvl6pPr>
            <a:lvl7pPr marL="3128233" indent="0">
              <a:buNone/>
              <a:defRPr sz="1600"/>
            </a:lvl7pPr>
            <a:lvl8pPr marL="3649605" indent="0">
              <a:buNone/>
              <a:defRPr sz="1600"/>
            </a:lvl8pPr>
            <a:lvl9pPr marL="4170977" indent="0">
              <a:buNone/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FC6BA1A5-4518-479B-9960-D50743406308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481114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5" descr="SANOFI_Logo_H_2011_Quadri copi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16750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2989" y="1533578"/>
            <a:ext cx="4505558" cy="46847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6705" y="1533578"/>
            <a:ext cx="4507413" cy="46847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7360F713-3A4B-42C1-8761-D24A71981FEF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5846734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90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5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5" y="1692890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5" y="2398405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BADFFF9B-207C-43C9-94E0-9CE086AC6DED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9073916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7ADFE1C7-043A-4737-8C3E-FEAB2B154AE4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8802655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D9371B16-DADE-4D2F-AFF8-294BA2C78873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786089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4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1" y="301122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4" y="1582600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8ACBC2A9-3B39-460C-AC11-92B420F7A7E4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7996072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9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9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373" indent="0">
              <a:buNone/>
              <a:defRPr sz="3200"/>
            </a:lvl2pPr>
            <a:lvl3pPr marL="1042744" indent="0">
              <a:buNone/>
              <a:defRPr sz="2700"/>
            </a:lvl3pPr>
            <a:lvl4pPr marL="1564117" indent="0">
              <a:buNone/>
              <a:defRPr sz="2300"/>
            </a:lvl4pPr>
            <a:lvl5pPr marL="2085489" indent="0">
              <a:buNone/>
              <a:defRPr sz="2300"/>
            </a:lvl5pPr>
            <a:lvl6pPr marL="2606860" indent="0">
              <a:buNone/>
              <a:defRPr sz="2300"/>
            </a:lvl6pPr>
            <a:lvl7pPr marL="3128233" indent="0">
              <a:buNone/>
              <a:defRPr sz="2300"/>
            </a:lvl7pPr>
            <a:lvl8pPr marL="3649605" indent="0">
              <a:buNone/>
              <a:defRPr sz="2300"/>
            </a:lvl8pPr>
            <a:lvl9pPr marL="4170977" indent="0">
              <a:buNone/>
              <a:defRPr sz="23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fr-F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9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435855C7-003F-49C0-80AD-954B196367C3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6774827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81EC1AF6-0E62-4C08-9834-BEC8F4D1E555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819805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26790" y="313375"/>
            <a:ext cx="2297315" cy="59049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2989" y="313375"/>
            <a:ext cx="6715656" cy="59049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5360AEEE-3130-4709-96C7-57D819B24DC5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9053977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34432" y="513789"/>
            <a:ext cx="5166175" cy="494597"/>
          </a:xfrm>
        </p:spPr>
        <p:txBody>
          <a:bodyPr>
            <a:no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534432" y="1176444"/>
            <a:ext cx="9619774" cy="5293995"/>
          </a:xfrm>
        </p:spPr>
        <p:txBody>
          <a:bodyPr>
            <a:noAutofit/>
          </a:bodyPr>
          <a:lstStyle>
            <a:lvl1pPr>
              <a:buNone/>
              <a:defRPr sz="1400"/>
            </a:lvl1pPr>
            <a:lvl2pPr>
              <a:buClr>
                <a:srgbClr val="FF0000"/>
              </a:buClr>
              <a:buFont typeface="Wingdings" charset="2"/>
              <a:buChar char="§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4"/>
          </p:nvPr>
        </p:nvSpPr>
        <p:spPr>
          <a:xfrm>
            <a:off x="7927975" y="6908800"/>
            <a:ext cx="2493963" cy="401638"/>
          </a:xfrm>
        </p:spPr>
        <p:txBody>
          <a:bodyPr/>
          <a:lstStyle>
            <a:lvl1pPr defTabSz="520636" eaLnBrk="0" hangingPunct="0">
              <a:defRPr>
                <a:solidFill>
                  <a:srgbClr val="989898"/>
                </a:solidFill>
              </a:defRPr>
            </a:lvl1pPr>
          </a:lstStyle>
          <a:p>
            <a:pPr>
              <a:defRPr/>
            </a:pPr>
            <a:fld id="{D1704957-2776-4578-9EE9-86A1BB9BFB16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389230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OUV-PPT_ok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X:\Charte graphique\bandeau des financeurs\bandeau der des der\bandeau 20140225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88" y="6445250"/>
            <a:ext cx="5235575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re 18"/>
          <p:cNvSpPr>
            <a:spLocks noGrp="1"/>
          </p:cNvSpPr>
          <p:nvPr>
            <p:ph type="title"/>
          </p:nvPr>
        </p:nvSpPr>
        <p:spPr>
          <a:xfrm>
            <a:off x="4539184" y="3252788"/>
            <a:ext cx="5681935" cy="1260475"/>
          </a:xfrm>
          <a:prstGeom prst="rect">
            <a:avLst/>
          </a:prstGeom>
        </p:spPr>
        <p:txBody>
          <a:bodyPr vert="horz" lIns="91428" tIns="45715" rIns="91428" bIns="45715"/>
          <a:lstStyle>
            <a:lvl1pPr algn="l">
              <a:defRPr sz="39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538663" y="4594225"/>
            <a:ext cx="5683250" cy="6096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1"/>
          </p:nvPr>
        </p:nvSpPr>
        <p:spPr>
          <a:xfrm>
            <a:off x="4538665" y="5419725"/>
            <a:ext cx="3352007" cy="4191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100" b="0" cap="all">
                <a:solidFill>
                  <a:srgbClr val="78639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4404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avec énumé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1809101" y="446254"/>
            <a:ext cx="8778056" cy="799450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rgbClr val="3C605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546523" y="2034433"/>
            <a:ext cx="9619774" cy="5071411"/>
          </a:xfrm>
          <a:prstGeom prst="rect">
            <a:avLst/>
          </a:prstGeom>
        </p:spPr>
        <p:txBody>
          <a:bodyPr/>
          <a:lstStyle>
            <a:lvl1pPr>
              <a:defRPr sz="2700" cap="none" baseline="0"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6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534988" y="7010400"/>
            <a:ext cx="2493962" cy="401638"/>
          </a:xfrm>
          <a:prstGeom prst="rect">
            <a:avLst/>
          </a:prstGeom>
        </p:spPr>
        <p:txBody>
          <a:bodyPr vert="horz" wrap="square" lIns="104274" tIns="52138" rIns="104274" bIns="52138" numCol="1" anchor="t" anchorCtr="0" compatLnSpc="1">
            <a:prstTxWarp prst="textNoShape">
              <a:avLst/>
            </a:prstTxWarp>
          </a:bodyPr>
          <a:lstStyle>
            <a:lvl1pPr defTabSz="1041271" eaLnBrk="1" hangingPunct="1">
              <a:defRPr>
                <a:solidFill>
                  <a:srgbClr val="444492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37879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01648" y="2349387"/>
            <a:ext cx="9085342" cy="1621111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603297" y="4285615"/>
            <a:ext cx="7482047" cy="1932728"/>
          </a:xfrm>
          <a:prstGeom prst="rect">
            <a:avLst/>
          </a:prstGeom>
        </p:spPr>
        <p:txBody>
          <a:bodyPr lIns="104274" tIns="52138" rIns="104274" bIns="52138"/>
          <a:lstStyle>
            <a:lvl1pPr marL="0" indent="0" algn="ctr">
              <a:buNone/>
              <a:defRPr/>
            </a:lvl1pPr>
            <a:lvl2pPr marL="521373" indent="0" algn="ctr">
              <a:buNone/>
              <a:defRPr/>
            </a:lvl2pPr>
            <a:lvl3pPr marL="1042744" indent="0" algn="ctr">
              <a:buNone/>
              <a:defRPr/>
            </a:lvl3pPr>
            <a:lvl4pPr marL="1564117" indent="0" algn="ctr">
              <a:buNone/>
              <a:defRPr/>
            </a:lvl4pPr>
            <a:lvl5pPr marL="2085489" indent="0" algn="ctr">
              <a:buNone/>
              <a:defRPr/>
            </a:lvl5pPr>
            <a:lvl6pPr marL="2606860" indent="0" algn="ctr">
              <a:buNone/>
              <a:defRPr/>
            </a:lvl6pPr>
            <a:lvl7pPr marL="3128233" indent="0" algn="ctr">
              <a:buNone/>
              <a:defRPr/>
            </a:lvl7pPr>
            <a:lvl8pPr marL="3649605" indent="0" algn="ctr">
              <a:buNone/>
              <a:defRPr/>
            </a:lvl8pPr>
            <a:lvl9pPr marL="4170977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54406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4432" y="1764667"/>
            <a:ext cx="9619774" cy="4991131"/>
          </a:xfrm>
          <a:prstGeom prst="rect">
            <a:avLst/>
          </a:prstGeom>
        </p:spPr>
        <p:txBody>
          <a:bodyPr lIns="104274" tIns="52138" rIns="104274" bIns="52138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8367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4329" y="4859833"/>
            <a:ext cx="9085342" cy="1502066"/>
          </a:xfrm>
          <a:prstGeom prst="rect">
            <a:avLst/>
          </a:prstGeom>
        </p:spPr>
        <p:txBody>
          <a:bodyPr lIns="104274" tIns="52138" rIns="104274" bIns="52138" anchor="t"/>
          <a:lstStyle>
            <a:lvl1pPr algn="l">
              <a:defRPr sz="46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44329" y="3205460"/>
            <a:ext cx="9085342" cy="1654373"/>
          </a:xfrm>
          <a:prstGeom prst="rect">
            <a:avLst/>
          </a:prstGeom>
        </p:spPr>
        <p:txBody>
          <a:bodyPr lIns="104274" tIns="52138" rIns="104274" bIns="52138" anchor="b"/>
          <a:lstStyle>
            <a:lvl1pPr marL="0" indent="0">
              <a:buNone/>
              <a:defRPr sz="2300"/>
            </a:lvl1pPr>
            <a:lvl2pPr marL="521373" indent="0">
              <a:buNone/>
              <a:defRPr sz="2100"/>
            </a:lvl2pPr>
            <a:lvl3pPr marL="1042744" indent="0">
              <a:buNone/>
              <a:defRPr sz="1800"/>
            </a:lvl3pPr>
            <a:lvl4pPr marL="1564117" indent="0">
              <a:buNone/>
              <a:defRPr sz="1600"/>
            </a:lvl4pPr>
            <a:lvl5pPr marL="2085489" indent="0">
              <a:buNone/>
              <a:defRPr sz="1600"/>
            </a:lvl5pPr>
            <a:lvl6pPr marL="2606860" indent="0">
              <a:buNone/>
              <a:defRPr sz="1600"/>
            </a:lvl6pPr>
            <a:lvl7pPr marL="3128233" indent="0">
              <a:buNone/>
              <a:defRPr sz="1600"/>
            </a:lvl7pPr>
            <a:lvl8pPr marL="3649605" indent="0">
              <a:buNone/>
              <a:defRPr sz="1600"/>
            </a:lvl8pPr>
            <a:lvl9pPr marL="4170977" indent="0">
              <a:buNone/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981311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34432" y="1764667"/>
            <a:ext cx="4720815" cy="4991131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433391" y="1764667"/>
            <a:ext cx="4720815" cy="4991131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03496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4432" y="1692890"/>
            <a:ext cx="4722671" cy="705515"/>
          </a:xfrm>
          <a:prstGeom prst="rect">
            <a:avLst/>
          </a:prstGeom>
        </p:spPr>
        <p:txBody>
          <a:bodyPr lIns="104274" tIns="52138" rIns="104274" bIns="52138"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34432" y="2398405"/>
            <a:ext cx="4722671" cy="4357393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429680" y="1692890"/>
            <a:ext cx="4724526" cy="705515"/>
          </a:xfrm>
          <a:prstGeom prst="rect">
            <a:avLst/>
          </a:prstGeom>
        </p:spPr>
        <p:txBody>
          <a:bodyPr lIns="104274" tIns="52138" rIns="104274" bIns="52138"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429680" y="2398405"/>
            <a:ext cx="4724526" cy="4357393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94654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1525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35760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4" y="301113"/>
            <a:ext cx="3516488" cy="1281483"/>
          </a:xfrm>
          <a:prstGeom prst="rect">
            <a:avLst/>
          </a:prstGeom>
        </p:spPr>
        <p:txBody>
          <a:bodyPr lIns="104274" tIns="52138" rIns="104274" bIns="52138"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178960" y="301115"/>
            <a:ext cx="5975246" cy="6454683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534434" y="1582598"/>
            <a:ext cx="3516488" cy="5173200"/>
          </a:xfrm>
          <a:prstGeom prst="rect">
            <a:avLst/>
          </a:prstGeom>
        </p:spPr>
        <p:txBody>
          <a:bodyPr lIns="104274" tIns="52138" rIns="104274" bIns="52138"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317259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95049" y="5293995"/>
            <a:ext cx="6413183" cy="624986"/>
          </a:xfrm>
          <a:prstGeom prst="rect">
            <a:avLst/>
          </a:prstGeom>
        </p:spPr>
        <p:txBody>
          <a:bodyPr lIns="104274" tIns="52138" rIns="104274" bIns="52138"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095049" y="675755"/>
            <a:ext cx="6413183" cy="4537710"/>
          </a:xfrm>
          <a:prstGeom prst="rect">
            <a:avLst/>
          </a:prstGeom>
        </p:spPr>
        <p:txBody>
          <a:bodyPr lIns="104274" tIns="52138" rIns="104274" bIns="52138"/>
          <a:lstStyle>
            <a:lvl1pPr marL="0" indent="0">
              <a:buNone/>
              <a:defRPr sz="3600"/>
            </a:lvl1pPr>
            <a:lvl2pPr marL="521373" indent="0">
              <a:buNone/>
              <a:defRPr sz="3200"/>
            </a:lvl2pPr>
            <a:lvl3pPr marL="1042744" indent="0">
              <a:buNone/>
              <a:defRPr sz="2700"/>
            </a:lvl3pPr>
            <a:lvl4pPr marL="1564117" indent="0">
              <a:buNone/>
              <a:defRPr sz="2300"/>
            </a:lvl4pPr>
            <a:lvl5pPr marL="2085489" indent="0">
              <a:buNone/>
              <a:defRPr sz="2300"/>
            </a:lvl5pPr>
            <a:lvl6pPr marL="2606860" indent="0">
              <a:buNone/>
              <a:defRPr sz="2300"/>
            </a:lvl6pPr>
            <a:lvl7pPr marL="3128233" indent="0">
              <a:buNone/>
              <a:defRPr sz="2300"/>
            </a:lvl7pPr>
            <a:lvl8pPr marL="3649605" indent="0">
              <a:buNone/>
              <a:defRPr sz="2300"/>
            </a:lvl8pPr>
            <a:lvl9pPr marL="4170977" indent="0">
              <a:buNone/>
              <a:defRPr sz="23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095049" y="5918981"/>
            <a:ext cx="6413183" cy="887584"/>
          </a:xfrm>
          <a:prstGeom prst="rect">
            <a:avLst/>
          </a:prstGeom>
        </p:spPr>
        <p:txBody>
          <a:bodyPr lIns="104274" tIns="52138" rIns="104274" bIns="52138"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58142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OUV-PPT_ok_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er 3"/>
          <p:cNvGrpSpPr>
            <a:grpSpLocks/>
          </p:cNvGrpSpPr>
          <p:nvPr userDrawn="1"/>
        </p:nvGrpSpPr>
        <p:grpSpPr bwMode="auto">
          <a:xfrm>
            <a:off x="4970463" y="6296025"/>
            <a:ext cx="5184775" cy="844550"/>
            <a:chOff x="4969669" y="6296025"/>
            <a:chExt cx="5185297" cy="844549"/>
          </a:xfrm>
        </p:grpSpPr>
        <p:grpSp>
          <p:nvGrpSpPr>
            <p:cNvPr id="7" name="Grouper 16"/>
            <p:cNvGrpSpPr>
              <a:grpSpLocks/>
            </p:cNvGrpSpPr>
            <p:nvPr/>
          </p:nvGrpSpPr>
          <p:grpSpPr bwMode="auto">
            <a:xfrm>
              <a:off x="5071269" y="6559741"/>
              <a:ext cx="5083697" cy="580833"/>
              <a:chOff x="5090319" y="6566091"/>
              <a:chExt cx="5083697" cy="580833"/>
            </a:xfrm>
          </p:grpSpPr>
          <p:pic>
            <p:nvPicPr>
              <p:cNvPr id="9" name="Image 5" descr="LOG-etat.wmf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90319" y="6632071"/>
                <a:ext cx="389731" cy="5021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" name="Image 6" descr="LOG_mairie paris.wmf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99919" y="6662870"/>
                <a:ext cx="752547" cy="862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" name="Image 7" descr="LOG_IDF.wmf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28619" y="6656520"/>
                <a:ext cx="580231" cy="967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" name="Image 8" descr="LOG_essone.wmf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23968" y="6566091"/>
                <a:ext cx="370681" cy="200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" name="Image 9" descr="LOG_st denis.png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10785" y="6608766"/>
                <a:ext cx="496665" cy="1517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" name="Image 10" descr="LOG_val de marne.wmf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38965" y="6584951"/>
                <a:ext cx="394169" cy="1819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" name="Image 11" descr="LOG_val doise.wmf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29800" y="6572317"/>
                <a:ext cx="344216" cy="1945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" name="Image 12" descr="LOG_ANR.wmf"/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25320" y="6960635"/>
                <a:ext cx="326230" cy="1418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" name="Image 13" descr="LOG_oseo.png"/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88100" y="6950075"/>
                <a:ext cx="467296" cy="1809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" name="Image 14" descr="LOG-europe.png"/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84912" y="6888799"/>
                <a:ext cx="368750" cy="258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" name="Image 15" descr="LOG_yvelines.png"/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09720" y="6911975"/>
                <a:ext cx="618065" cy="2317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Image 16" descr="LOG_92.wmf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13801" y="6911975"/>
                <a:ext cx="305410" cy="193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8" name="ZoneTexte 7"/>
            <p:cNvSpPr txBox="1">
              <a:spLocks noChangeArrowheads="1"/>
            </p:cNvSpPr>
            <p:nvPr/>
          </p:nvSpPr>
          <p:spPr bwMode="auto">
            <a:xfrm>
              <a:off x="4969669" y="6296025"/>
              <a:ext cx="2221136" cy="22066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5pPr>
              <a:lvl6pPr marL="2514600" indent="-228600" defTabSz="5207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6pPr>
              <a:lvl7pPr marL="2971800" indent="-228600" defTabSz="5207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7pPr>
              <a:lvl8pPr marL="3429000" indent="-228600" defTabSz="5207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8pPr>
              <a:lvl9pPr marL="3886200" indent="-228600" defTabSz="5207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9pPr>
            </a:lstStyle>
            <a:p>
              <a:pPr defTabSz="520636" eaLnBrk="1" hangingPunct="1">
                <a:defRPr/>
              </a:pPr>
              <a:r>
                <a:rPr lang="fr-FR" sz="800" smtClean="0"/>
                <a:t>Cluster and project funding partners</a:t>
              </a:r>
            </a:p>
          </p:txBody>
        </p:sp>
      </p:grpSp>
      <p:sp>
        <p:nvSpPr>
          <p:cNvPr id="19" name="Titre 18"/>
          <p:cNvSpPr>
            <a:spLocks noGrp="1"/>
          </p:cNvSpPr>
          <p:nvPr>
            <p:ph type="title"/>
          </p:nvPr>
        </p:nvSpPr>
        <p:spPr>
          <a:xfrm>
            <a:off x="4539184" y="3252788"/>
            <a:ext cx="5681935" cy="1260475"/>
          </a:xfrm>
          <a:prstGeom prst="rect">
            <a:avLst/>
          </a:prstGeom>
        </p:spPr>
        <p:txBody>
          <a:bodyPr vert="horz" lIns="91428" tIns="45715" rIns="91428" bIns="45715"/>
          <a:lstStyle>
            <a:lvl1pPr algn="l">
              <a:defRPr sz="39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1"/>
          </p:nvPr>
        </p:nvSpPr>
        <p:spPr>
          <a:xfrm>
            <a:off x="4538665" y="5419725"/>
            <a:ext cx="3352007" cy="4191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100" b="0" cap="all">
                <a:solidFill>
                  <a:srgbClr val="78639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538663" y="4594225"/>
            <a:ext cx="5683250" cy="6096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675143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34432" y="1764667"/>
            <a:ext cx="9619774" cy="4991131"/>
          </a:xfrm>
          <a:prstGeom prst="rect">
            <a:avLst/>
          </a:prstGeom>
        </p:spPr>
        <p:txBody>
          <a:bodyPr vert="eaVert" lIns="104274" tIns="52138" rIns="104274" bIns="52138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24497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749262" y="302865"/>
            <a:ext cx="2404944" cy="6452932"/>
          </a:xfrm>
          <a:prstGeom prst="rect">
            <a:avLst/>
          </a:prstGeom>
        </p:spPr>
        <p:txBody>
          <a:bodyPr vert="eaVert"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34433" y="302865"/>
            <a:ext cx="7036687" cy="6452932"/>
          </a:xfrm>
          <a:prstGeom prst="rect">
            <a:avLst/>
          </a:prstGeom>
        </p:spPr>
        <p:txBody>
          <a:bodyPr vert="eaVert" lIns="104274" tIns="52138" rIns="104274" bIns="52138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59316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01648" y="2349387"/>
            <a:ext cx="9085342" cy="1621111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603297" y="4285615"/>
            <a:ext cx="7482047" cy="1932728"/>
          </a:xfrm>
        </p:spPr>
        <p:txBody>
          <a:bodyPr/>
          <a:lstStyle>
            <a:lvl1pPr marL="0" indent="0" algn="ctr">
              <a:buNone/>
              <a:defRPr/>
            </a:lvl1pPr>
            <a:lvl2pPr marL="521373" indent="0" algn="ctr">
              <a:buNone/>
              <a:defRPr/>
            </a:lvl2pPr>
            <a:lvl3pPr marL="1042744" indent="0" algn="ctr">
              <a:buNone/>
              <a:defRPr/>
            </a:lvl3pPr>
            <a:lvl4pPr marL="1564117" indent="0" algn="ctr">
              <a:buNone/>
              <a:defRPr/>
            </a:lvl4pPr>
            <a:lvl5pPr marL="2085489" indent="0" algn="ctr">
              <a:buNone/>
              <a:defRPr/>
            </a:lvl5pPr>
            <a:lvl6pPr marL="2606860" indent="0" algn="ctr">
              <a:buNone/>
              <a:defRPr/>
            </a:lvl6pPr>
            <a:lvl7pPr marL="3128233" indent="0" algn="ctr">
              <a:buNone/>
              <a:defRPr/>
            </a:lvl7pPr>
            <a:lvl8pPr marL="3649605" indent="0" algn="ctr">
              <a:buNone/>
              <a:defRPr/>
            </a:lvl8pPr>
            <a:lvl9pPr marL="4170977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07A15772-0A89-4920-AEA6-79E17170A59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71043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C894400E-1B3D-4B7E-B2A6-5EB7BAAF21E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39594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4329" y="4859833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44329" y="3205460"/>
            <a:ext cx="9085342" cy="1654373"/>
          </a:xfrm>
        </p:spPr>
        <p:txBody>
          <a:bodyPr anchor="b"/>
          <a:lstStyle>
            <a:lvl1pPr marL="0" indent="0">
              <a:buNone/>
              <a:defRPr sz="2300"/>
            </a:lvl1pPr>
            <a:lvl2pPr marL="521373" indent="0">
              <a:buNone/>
              <a:defRPr sz="2100"/>
            </a:lvl2pPr>
            <a:lvl3pPr marL="1042744" indent="0">
              <a:buNone/>
              <a:defRPr sz="1800"/>
            </a:lvl3pPr>
            <a:lvl4pPr marL="1564117" indent="0">
              <a:buNone/>
              <a:defRPr sz="1600"/>
            </a:lvl4pPr>
            <a:lvl5pPr marL="2085489" indent="0">
              <a:buNone/>
              <a:defRPr sz="1600"/>
            </a:lvl5pPr>
            <a:lvl6pPr marL="2606860" indent="0">
              <a:buNone/>
              <a:defRPr sz="1600"/>
            </a:lvl6pPr>
            <a:lvl7pPr marL="3128233" indent="0">
              <a:buNone/>
              <a:defRPr sz="1600"/>
            </a:lvl7pPr>
            <a:lvl8pPr marL="3649605" indent="0">
              <a:buNone/>
              <a:defRPr sz="1600"/>
            </a:lvl8pPr>
            <a:lvl9pPr marL="4170977" indent="0">
              <a:buNone/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1A302DAD-BC30-471D-89D3-16AE7688841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8362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2063" y="1796179"/>
            <a:ext cx="4720815" cy="49911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361022" y="1796179"/>
            <a:ext cx="4720815" cy="49911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31AAEFBB-F920-43F2-B1C5-C043A9FA7CD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509588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4432" y="1692890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34432" y="2398405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429680" y="1692890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429680" y="2398405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380DA3B7-FD7F-44DB-89C2-DC6AA82DB8B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08459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EB34C848-B6AA-41CC-9B6F-68D76A5DF6A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56959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88B2806D-BFCA-4D8A-AECC-B1287110CBC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135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4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178960" y="301115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534434" y="1582598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D0ABD395-429E-4A4F-AA5C-312CD618F5F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82875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4" descr="BANDO-horizonta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Espace réservé du texte 17"/>
          <p:cNvSpPr>
            <a:spLocks noGrp="1"/>
          </p:cNvSpPr>
          <p:nvPr>
            <p:ph type="body" sz="quarter" idx="10"/>
          </p:nvPr>
        </p:nvSpPr>
        <p:spPr>
          <a:xfrm>
            <a:off x="962820" y="2105027"/>
            <a:ext cx="4380706" cy="4343399"/>
          </a:xfrm>
          <a:prstGeom prst="rect">
            <a:avLst/>
          </a:prstGeom>
        </p:spPr>
        <p:txBody>
          <a:bodyPr vert="horz" lIns="91404" tIns="45702" rIns="91404" bIns="45702"/>
          <a:lstStyle>
            <a:lvl1pPr>
              <a:buClr>
                <a:srgbClr val="005073"/>
              </a:buClr>
              <a:defRPr sz="2100" b="0">
                <a:solidFill>
                  <a:srgbClr val="005073"/>
                </a:solidFill>
                <a:latin typeface="Arial Black"/>
                <a:cs typeface="Arial Black"/>
              </a:defRPr>
            </a:lvl1pPr>
            <a:lvl2pPr>
              <a:buClr>
                <a:srgbClr val="005073"/>
              </a:buClr>
              <a:defRPr sz="1800" b="1">
                <a:latin typeface="Arial "/>
                <a:cs typeface="Arial "/>
              </a:defRPr>
            </a:lvl2pPr>
            <a:lvl3pPr>
              <a:buClr>
                <a:srgbClr val="005073"/>
              </a:buClr>
              <a:defRPr sz="1800">
                <a:latin typeface="Arial"/>
                <a:cs typeface="Arial"/>
              </a:defRPr>
            </a:lvl3pPr>
            <a:lvl4pPr>
              <a:buClr>
                <a:srgbClr val="005073"/>
              </a:buClr>
              <a:defRPr sz="1800">
                <a:latin typeface="Arial "/>
                <a:cs typeface="Arial "/>
              </a:defRPr>
            </a:lvl4pPr>
            <a:lvl5pPr>
              <a:buClr>
                <a:srgbClr val="005073"/>
              </a:buClr>
              <a:defRPr sz="1800">
                <a:latin typeface="Arial "/>
                <a:cs typeface="Arial 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>
          <a:xfrm>
            <a:off x="9148763" y="7197725"/>
            <a:ext cx="960437" cy="231775"/>
          </a:xfrm>
          <a:prstGeom prst="rect">
            <a:avLst/>
          </a:prstGeom>
        </p:spPr>
        <p:txBody>
          <a:bodyPr lIns="91411" tIns="45706" rIns="91411" bIns="45706"/>
          <a:lstStyle>
            <a:lvl1pPr defTabSz="520636">
              <a:defRPr>
                <a:latin typeface="Arial" charset="0"/>
                <a:ea typeface="ＭＳ Ｐゴシック" charset="0"/>
                <a:cs typeface="Geneva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>
          <a:xfrm>
            <a:off x="7151688" y="6983413"/>
            <a:ext cx="3384550" cy="277812"/>
          </a:xfrm>
          <a:prstGeom prst="rect">
            <a:avLst/>
          </a:prstGeom>
        </p:spPr>
        <p:txBody>
          <a:bodyPr lIns="91411" tIns="45706" rIns="91411" bIns="45706"/>
          <a:lstStyle>
            <a:lvl1pPr defTabSz="520636">
              <a:defRPr>
                <a:latin typeface="Arial" charset="0"/>
                <a:ea typeface="ＭＳ Ｐゴシック" charset="0"/>
                <a:cs typeface="Geneva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>
          <a:xfrm>
            <a:off x="9993313" y="7197725"/>
            <a:ext cx="542925" cy="231775"/>
          </a:xfrm>
          <a:prstGeom prst="rect">
            <a:avLst/>
          </a:prstGeom>
        </p:spPr>
        <p:txBody>
          <a:bodyPr vert="horz" wrap="square" lIns="91411" tIns="45706" rIns="91411" bIns="45706" numCol="1" anchor="t" anchorCtr="0" compatLnSpc="1">
            <a:prstTxWarp prst="textNoShape">
              <a:avLst/>
            </a:prstTxWarp>
          </a:bodyPr>
          <a:lstStyle>
            <a:lvl1pPr defTabSz="520636">
              <a:defRPr/>
            </a:lvl1pPr>
          </a:lstStyle>
          <a:p>
            <a:pPr>
              <a:defRPr/>
            </a:pPr>
            <a:fld id="{06DCB0AD-538D-44FA-B7F7-3F72DE1B4469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1788510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95049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095049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373" indent="0">
              <a:buNone/>
              <a:defRPr sz="3200"/>
            </a:lvl2pPr>
            <a:lvl3pPr marL="1042744" indent="0">
              <a:buNone/>
              <a:defRPr sz="2700"/>
            </a:lvl3pPr>
            <a:lvl4pPr marL="1564117" indent="0">
              <a:buNone/>
              <a:defRPr sz="2300"/>
            </a:lvl4pPr>
            <a:lvl5pPr marL="2085489" indent="0">
              <a:buNone/>
              <a:defRPr sz="2300"/>
            </a:lvl5pPr>
            <a:lvl6pPr marL="2606860" indent="0">
              <a:buNone/>
              <a:defRPr sz="2300"/>
            </a:lvl6pPr>
            <a:lvl7pPr marL="3128233" indent="0">
              <a:buNone/>
              <a:defRPr sz="2300"/>
            </a:lvl7pPr>
            <a:lvl8pPr marL="3649605" indent="0">
              <a:buNone/>
              <a:defRPr sz="2300"/>
            </a:lvl8pPr>
            <a:lvl9pPr marL="4170977" indent="0">
              <a:buNone/>
              <a:defRPr sz="23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095049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5C53A685-179E-4C65-A158-941FCDA370B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31620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EA52D194-E6A8-4041-9F46-6F568063A52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26794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732564" y="302864"/>
            <a:ext cx="2421644" cy="6484444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2063" y="302864"/>
            <a:ext cx="7092357" cy="6484444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C27D0BF5-07DF-4FD9-858F-ABBE3579D26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703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462063" y="1796179"/>
            <a:ext cx="4720815" cy="4991131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361022" y="1796179"/>
            <a:ext cx="4720815" cy="4991131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25752DF2-4B83-442D-BEA5-E6C687A1BA1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695373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ttp://www.arnaudgobet.fr/wp-content/uploads/2013/03/logo-Medicen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5913" y="446088"/>
            <a:ext cx="3659187" cy="81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C:\Users\LLR\Pictures\Loïc\Small Business France\Communication\SBF web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287338"/>
            <a:ext cx="2189162" cy="1293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5277" y="303345"/>
            <a:ext cx="9619774" cy="1259415"/>
          </a:xfrm>
          <a:prstGeom prst="rect">
            <a:avLst/>
          </a:prstGeom>
        </p:spPr>
        <p:txBody>
          <a:bodyPr lIns="94572" tIns="47287" rIns="94572" bIns="47287"/>
          <a:lstStyle>
            <a:lvl1pPr>
              <a:defRPr sz="3700">
                <a:latin typeface="Capsuula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5277" y="1764454"/>
            <a:ext cx="9619774" cy="4991608"/>
          </a:xfrm>
          <a:prstGeom prst="rect">
            <a:avLst/>
          </a:prstGeom>
        </p:spPr>
        <p:txBody>
          <a:bodyPr lIns="94572" tIns="47287" rIns="94572" bIns="47287"/>
          <a:lstStyle>
            <a:lvl1pPr>
              <a:defRPr sz="1900">
                <a:latin typeface="Helvetica Neue" pitchFamily="2"/>
              </a:defRPr>
            </a:lvl1pPr>
            <a:lvl2pPr>
              <a:defRPr sz="1900">
                <a:latin typeface="Helvetica Neue" pitchFamily="2"/>
              </a:defRPr>
            </a:lvl2pPr>
            <a:lvl3pPr>
              <a:defRPr sz="1900">
                <a:latin typeface="Helvetica Neue" pitchFamily="2"/>
              </a:defRPr>
            </a:lvl3pPr>
            <a:lvl4pPr>
              <a:defRPr sz="1900">
                <a:latin typeface="Helvetica Neue" pitchFamily="2"/>
              </a:defRPr>
            </a:lvl4pPr>
            <a:lvl5pPr>
              <a:defRPr sz="1900">
                <a:latin typeface="Helvetica Neue" pitchFamily="2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534988" y="7010400"/>
            <a:ext cx="2493962" cy="401638"/>
          </a:xfrm>
          <a:prstGeom prst="rect">
            <a:avLst/>
          </a:prstGeom>
        </p:spPr>
        <p:txBody>
          <a:bodyPr lIns="94572" tIns="47287" rIns="94572" bIns="47287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652838" y="7010400"/>
            <a:ext cx="3382962" cy="401638"/>
          </a:xfrm>
          <a:prstGeom prst="rect">
            <a:avLst/>
          </a:prstGeom>
        </p:spPr>
        <p:txBody>
          <a:bodyPr lIns="94572" tIns="47287" rIns="94572" bIns="47287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659688" y="7010400"/>
            <a:ext cx="2495550" cy="401638"/>
          </a:xfrm>
          <a:prstGeom prst="rect">
            <a:avLst/>
          </a:prstGeom>
        </p:spPr>
        <p:txBody>
          <a:bodyPr lIns="94572" tIns="47287" rIns="94572" bIns="47287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5076DA06-CB87-461B-85FC-D4653F9577B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03478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lIns="94603" tIns="47302" rIns="94603" bIns="47302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5"/>
          <p:cNvSpPr>
            <a:spLocks noGrp="1"/>
          </p:cNvSpPr>
          <p:nvPr>
            <p:ph type="dt" sz="half" idx="10"/>
          </p:nvPr>
        </p:nvSpPr>
        <p:spPr>
          <a:xfrm>
            <a:off x="534988" y="7010400"/>
            <a:ext cx="2493962" cy="401638"/>
          </a:xfrm>
          <a:prstGeom prst="rect">
            <a:avLst/>
          </a:prstGeom>
        </p:spPr>
        <p:txBody>
          <a:bodyPr lIns="94603" tIns="47302" rIns="94603" bIns="47302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6"/>
          <p:cNvSpPr>
            <a:spLocks noGrp="1"/>
          </p:cNvSpPr>
          <p:nvPr>
            <p:ph type="sldNum" sz="quarter" idx="11"/>
          </p:nvPr>
        </p:nvSpPr>
        <p:spPr>
          <a:xfrm>
            <a:off x="7659688" y="7010400"/>
            <a:ext cx="2493962" cy="401638"/>
          </a:xfrm>
          <a:prstGeom prst="rect">
            <a:avLst/>
          </a:prstGeom>
        </p:spPr>
        <p:txBody>
          <a:bodyPr lIns="94603" tIns="47302" rIns="94603" bIns="47302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1B2D2E6B-D930-43C9-8017-F2448E8DBD2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Espace réservé du pied de page 7"/>
          <p:cNvSpPr>
            <a:spLocks noGrp="1"/>
          </p:cNvSpPr>
          <p:nvPr>
            <p:ph type="ftr" sz="quarter" idx="12"/>
          </p:nvPr>
        </p:nvSpPr>
        <p:spPr>
          <a:xfrm>
            <a:off x="3651250" y="7010400"/>
            <a:ext cx="3386138" cy="401638"/>
          </a:xfrm>
          <a:prstGeom prst="rect">
            <a:avLst/>
          </a:prstGeom>
        </p:spPr>
        <p:txBody>
          <a:bodyPr lIns="94603" tIns="47302" rIns="94603" bIns="47302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18844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uvertur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978496" y="546592"/>
            <a:ext cx="6946725" cy="354122"/>
          </a:xfrm>
          <a:prstGeom prst="rect">
            <a:avLst/>
          </a:prstGeom>
        </p:spPr>
        <p:txBody>
          <a:bodyPr lIns="0" tIns="0" rIns="82116" bIns="0" anchor="t" anchorCtr="0">
            <a:normAutofit/>
          </a:bodyPr>
          <a:lstStyle>
            <a:lvl1pPr algn="l">
              <a:defRPr sz="2300" cap="all">
                <a:solidFill>
                  <a:schemeClr val="bg1"/>
                </a:solidFill>
                <a:latin typeface="DIN Next LT Pro Ligh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77937" y="911306"/>
            <a:ext cx="6947615" cy="2876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977606" y="5159903"/>
            <a:ext cx="6947615" cy="1901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100" cap="all" baseline="0">
                <a:solidFill>
                  <a:schemeClr val="bg1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12971446"/>
      </p:ext>
    </p:extLst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1181029"/>
            <a:ext cx="9619774" cy="1697962"/>
          </a:xfrm>
          <a:prstGeom prst="rect">
            <a:avLst/>
          </a:prstGeom>
        </p:spPr>
        <p:txBody>
          <a:bodyPr lIns="104287" tIns="52144" rIns="104287" bIns="52144">
            <a:normAutofit/>
          </a:bodyPr>
          <a:lstStyle>
            <a:lvl1pPr algn="l">
              <a:lnSpc>
                <a:spcPts val="4562"/>
              </a:lnSpc>
              <a:defRPr sz="5100" b="1" i="0" kern="1200" cap="all" spc="114" baseline="0">
                <a:solidFill>
                  <a:schemeClr val="bg1"/>
                </a:solidFill>
                <a:latin typeface="DIN Next LT Pro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4432" y="3320866"/>
            <a:ext cx="9619774" cy="480707"/>
          </a:xfrm>
          <a:prstGeom prst="rect">
            <a:avLst/>
          </a:prstGeom>
        </p:spPr>
        <p:txBody>
          <a:bodyPr lIns="104287" tIns="52144" rIns="104287" bIns="52144">
            <a:normAutofit/>
          </a:bodyPr>
          <a:lstStyle>
            <a:lvl1pPr marL="0" indent="0">
              <a:buNone/>
              <a:defRPr sz="23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45279480"/>
      </p:ext>
    </p:extLst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8496" y="455917"/>
            <a:ext cx="6946725" cy="354122"/>
          </a:xfrm>
          <a:prstGeom prst="rect">
            <a:avLst/>
          </a:prstGeom>
        </p:spPr>
        <p:txBody>
          <a:bodyPr lIns="0" tIns="0" rIns="82116" bIns="0" anchor="t" anchorCtr="0">
            <a:normAutofit/>
          </a:bodyPr>
          <a:lstStyle>
            <a:lvl1pPr algn="l">
              <a:defRPr sz="2300" cap="all">
                <a:solidFill>
                  <a:schemeClr val="bg1"/>
                </a:solidFill>
                <a:latin typeface="DIN Next LT Pro Ligh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656005" y="2195403"/>
            <a:ext cx="9366842" cy="47364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baseline="0">
                <a:solidFill>
                  <a:srgbClr val="2A22D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77937" y="820631"/>
            <a:ext cx="6947615" cy="2876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31422006"/>
      </p:ext>
    </p:extLst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978496" y="455917"/>
            <a:ext cx="6946725" cy="354122"/>
          </a:xfrm>
          <a:prstGeom prst="rect">
            <a:avLst/>
          </a:prstGeom>
        </p:spPr>
        <p:txBody>
          <a:bodyPr lIns="0" tIns="0" rIns="82116" bIns="0" anchor="t" anchorCtr="0">
            <a:normAutofit/>
          </a:bodyPr>
          <a:lstStyle>
            <a:lvl1pPr algn="l">
              <a:defRPr sz="2300" cap="all">
                <a:solidFill>
                  <a:schemeClr val="bg1"/>
                </a:solidFill>
                <a:latin typeface="DIN Next LT Pro Ligh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4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656005" y="2195403"/>
            <a:ext cx="4449335" cy="47364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baseline="0">
                <a:solidFill>
                  <a:srgbClr val="2A22D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77937" y="820631"/>
            <a:ext cx="6947615" cy="2876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7" name="Espace réservé du graphique 6"/>
          <p:cNvSpPr>
            <a:spLocks noGrp="1"/>
          </p:cNvSpPr>
          <p:nvPr>
            <p:ph type="chart" sz="quarter" idx="12"/>
          </p:nvPr>
        </p:nvSpPr>
        <p:spPr>
          <a:xfrm>
            <a:off x="5436440" y="2195328"/>
            <a:ext cx="4602715" cy="4737285"/>
          </a:xfrm>
          <a:prstGeom prst="rect">
            <a:avLst/>
          </a:prstGeom>
        </p:spPr>
        <p:txBody>
          <a:bodyPr vert="horz" lIns="104287" tIns="52144" rIns="104287" bIns="52144"/>
          <a:lstStyle>
            <a:lvl1pPr marL="0" indent="0">
              <a:buNone/>
              <a:defRPr sz="1600">
                <a:latin typeface="DIN Next LT Pro Light"/>
              </a:defRPr>
            </a:lvl1pPr>
          </a:lstStyle>
          <a:p>
            <a:pPr lvl="0"/>
            <a:r>
              <a:rPr lang="fr-FR" noProof="0" smtClean="0"/>
              <a:t>Cliquez sur l'icône pour ajouter un graphiqu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108245595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" descr="ENTREE-PPT_15sep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658521" y="2600324"/>
            <a:ext cx="5257800" cy="1371600"/>
          </a:xfrm>
          <a:prstGeom prst="rect">
            <a:avLst/>
          </a:prstGeom>
        </p:spPr>
        <p:txBody>
          <a:bodyPr vert="horz" lIns="91411" tIns="45706" rIns="91411" bIns="45706"/>
          <a:lstStyle>
            <a:lvl1pPr algn="l">
              <a:defRPr sz="38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658521" y="4048125"/>
            <a:ext cx="5257800" cy="609600"/>
          </a:xfrm>
          <a:prstGeom prst="rect">
            <a:avLst/>
          </a:prstGeom>
        </p:spPr>
        <p:txBody>
          <a:bodyPr vert="horz" lIns="91411" tIns="45706" rIns="91411" bIns="45706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063628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978496" y="455917"/>
            <a:ext cx="6946725" cy="354122"/>
          </a:xfrm>
          <a:prstGeom prst="rect">
            <a:avLst/>
          </a:prstGeom>
        </p:spPr>
        <p:txBody>
          <a:bodyPr lIns="0" tIns="0" rIns="82116" bIns="0" anchor="t" anchorCtr="0">
            <a:normAutofit/>
          </a:bodyPr>
          <a:lstStyle>
            <a:lvl1pPr algn="l">
              <a:defRPr sz="2300" cap="all">
                <a:solidFill>
                  <a:schemeClr val="bg1"/>
                </a:solidFill>
                <a:latin typeface="DIN Next LT Pro Ligh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4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656005" y="2195403"/>
            <a:ext cx="4449335" cy="47364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baseline="0">
                <a:solidFill>
                  <a:srgbClr val="2A22D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77937" y="820631"/>
            <a:ext cx="6947615" cy="2876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graphique 6"/>
          <p:cNvSpPr>
            <a:spLocks noGrp="1"/>
          </p:cNvSpPr>
          <p:nvPr>
            <p:ph type="chart" sz="quarter" idx="12"/>
          </p:nvPr>
        </p:nvSpPr>
        <p:spPr>
          <a:xfrm>
            <a:off x="5436440" y="2195328"/>
            <a:ext cx="4602715" cy="4737285"/>
          </a:xfrm>
          <a:prstGeom prst="rect">
            <a:avLst/>
          </a:prstGeom>
        </p:spPr>
        <p:txBody>
          <a:bodyPr vert="horz" lIns="104287" tIns="52144" rIns="104287" bIns="52144"/>
          <a:lstStyle>
            <a:lvl1pPr marL="0" indent="0">
              <a:buNone/>
              <a:defRPr sz="1600">
                <a:latin typeface="DIN Next LT Pro Light"/>
              </a:defRPr>
            </a:lvl1pPr>
          </a:lstStyle>
          <a:p>
            <a:pPr lvl="0"/>
            <a:r>
              <a:rPr lang="fr-FR" noProof="0" smtClean="0"/>
              <a:t>Cliquez sur l'icône pour ajouter un graphiqu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662054044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" descr="ENTREE-PPT_15sep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658521" y="2600324"/>
            <a:ext cx="5257800" cy="1371600"/>
          </a:xfrm>
          <a:prstGeom prst="rect">
            <a:avLst/>
          </a:prstGeom>
        </p:spPr>
        <p:txBody>
          <a:bodyPr vert="horz" lIns="91411" tIns="45706" rIns="91411" bIns="45706"/>
          <a:lstStyle>
            <a:lvl1pPr algn="l">
              <a:defRPr sz="38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658521" y="4048125"/>
            <a:ext cx="5257800" cy="609600"/>
          </a:xfrm>
          <a:prstGeom prst="rect">
            <a:avLst/>
          </a:prstGeom>
        </p:spPr>
        <p:txBody>
          <a:bodyPr vert="horz" lIns="91411" tIns="45706" rIns="91411" bIns="45706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813373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" descr="ENTREE-PPT_15sep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658521" y="2600324"/>
            <a:ext cx="5257800" cy="1371600"/>
          </a:xfrm>
          <a:prstGeom prst="rect">
            <a:avLst/>
          </a:prstGeom>
        </p:spPr>
        <p:txBody>
          <a:bodyPr vert="horz" lIns="91411" tIns="45706" rIns="91411" bIns="45706"/>
          <a:lstStyle>
            <a:lvl1pPr algn="l">
              <a:defRPr sz="38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658521" y="4048125"/>
            <a:ext cx="5257800" cy="609600"/>
          </a:xfrm>
          <a:prstGeom prst="rect">
            <a:avLst/>
          </a:prstGeom>
        </p:spPr>
        <p:txBody>
          <a:bodyPr vert="horz" lIns="91411" tIns="45706" rIns="91411" bIns="45706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450252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85738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5" name="think-cell Slide" r:id="rId7" imgW="38100" imgH="38100" progId="">
                  <p:embed/>
                </p:oleObj>
              </mc:Choice>
              <mc:Fallback>
                <p:oleObj name="think-cell Slide" r:id="rId7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5738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5"/>
          <p:cNvSpPr/>
          <p:nvPr userDrawn="1">
            <p:custDataLst>
              <p:tags r:id="rId3"/>
            </p:custDataLst>
          </p:nvPr>
        </p:nvSpPr>
        <p:spPr>
          <a:xfrm>
            <a:off x="0" y="1555750"/>
            <a:ext cx="10688638" cy="16224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74" tIns="52138" rIns="104274" bIns="52138" anchor="ctr"/>
          <a:lstStyle/>
          <a:p>
            <a:pPr algn="ctr" defTabSz="1042744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6" name="Picture 45" descr="SANOFI_Logo_H_2011_Quadri copie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02463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854" y="1556291"/>
            <a:ext cx="8244933" cy="1621111"/>
          </a:xfrm>
        </p:spPr>
        <p:txBody>
          <a:bodyPr anchor="ctr"/>
          <a:lstStyle>
            <a:lvl1pPr>
              <a:defRPr sz="46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575461" y="3747139"/>
            <a:ext cx="7482047" cy="635288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C7E8F348-B0C4-45A2-B890-DA7B74A5CEE3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0300146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5" descr="SANOFI_Logo_H_2011_Quadri copi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16750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0D556D64-B821-4D5E-A978-8706B2605E2E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569722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9.jpe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18.jpe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21.jpe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2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23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207" r:id="rId1"/>
    <p:sldLayoutId id="2147487208" r:id="rId2"/>
    <p:sldLayoutId id="2147487209" r:id="rId3"/>
    <p:sldLayoutId id="2147487210" r:id="rId4"/>
    <p:sldLayoutId id="2147487211" r:id="rId5"/>
    <p:sldLayoutId id="2147487212" r:id="rId6"/>
    <p:sldLayoutId id="2147487213" r:id="rId7"/>
  </p:sldLayoutIdLst>
  <p:hf sldNum="0" hdr="0" ftr="0" dt="0"/>
  <p:txStyles>
    <p:titleStyle>
      <a:lvl1pPr algn="ctr" defTabSz="519113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MS PGothic" panose="020B0600070205080204" pitchFamily="34" charset="-128"/>
          <a:cs typeface="Geneva" charset="0"/>
        </a:defRPr>
      </a:lvl1pPr>
      <a:lvl2pPr algn="ctr" defTabSz="519113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Geneva" charset="0"/>
        </a:defRPr>
      </a:lvl2pPr>
      <a:lvl3pPr algn="ctr" defTabSz="519113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Geneva" charset="0"/>
        </a:defRPr>
      </a:lvl3pPr>
      <a:lvl4pPr algn="ctr" defTabSz="519113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Geneva" charset="0"/>
        </a:defRPr>
      </a:lvl4pPr>
      <a:lvl5pPr algn="ctr" defTabSz="519113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Geneva" charset="0"/>
        </a:defRPr>
      </a:lvl5pPr>
      <a:lvl6pPr marL="457143" algn="ctr" defTabSz="520636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Geneva" pitchFamily="-110" charset="-128"/>
        </a:defRPr>
      </a:lvl6pPr>
      <a:lvl7pPr marL="914286" algn="ctr" defTabSz="520636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Geneva" pitchFamily="-110" charset="-128"/>
        </a:defRPr>
      </a:lvl7pPr>
      <a:lvl8pPr marL="1371431" algn="ctr" defTabSz="520636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Geneva" pitchFamily="-110" charset="-128"/>
        </a:defRPr>
      </a:lvl8pPr>
      <a:lvl9pPr marL="1828574" algn="ctr" defTabSz="520636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Geneva" pitchFamily="-110" charset="-128"/>
        </a:defRPr>
      </a:lvl9pPr>
    </p:titleStyle>
    <p:bodyStyle>
      <a:lvl1pPr marL="388938" indent="-388938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MS PGothic" panose="020B0600070205080204" pitchFamily="34" charset="-128"/>
          <a:cs typeface="Geneva" charset="0"/>
        </a:defRPr>
      </a:lvl1pPr>
      <a:lvl2pPr marL="844550" indent="-323850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Geneva" pitchFamily="-110" charset="-128"/>
          <a:cs typeface="Geneva" charset="0"/>
        </a:defRPr>
      </a:lvl2pPr>
      <a:lvl3pPr marL="1301750" indent="-258763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Geneva" pitchFamily="-110" charset="-128"/>
          <a:cs typeface="Geneva" charset="0"/>
        </a:defRPr>
      </a:lvl3pPr>
      <a:lvl4pPr marL="1822450" indent="-258763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Geneva" pitchFamily="-110" charset="-128"/>
          <a:cs typeface="Geneva" charset="0"/>
        </a:defRPr>
      </a:lvl4pPr>
      <a:lvl5pPr marL="2344738" indent="-258763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Geneva" pitchFamily="-110" charset="-128"/>
          <a:cs typeface="Geneva" charset="0"/>
        </a:defRPr>
      </a:lvl5pPr>
      <a:lvl6pPr marL="2867547" indent="-260685" algn="l" defTabSz="52137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9" indent="-260685" algn="l" defTabSz="52137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91" indent="-260685" algn="l" defTabSz="52137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63" indent="-260685" algn="l" defTabSz="52137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3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7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9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60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33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5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7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33425" y="312738"/>
            <a:ext cx="932497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33425" y="1533525"/>
            <a:ext cx="9190038" cy="468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quez pour modifier les styles du texte du masque</a:t>
            </a:r>
          </a:p>
          <a:p>
            <a:pPr lvl="1"/>
            <a:r>
              <a:rPr lang="en-US" altLang="fr-FR" smtClean="0"/>
              <a:t>Deuxième niveau</a:t>
            </a:r>
          </a:p>
          <a:p>
            <a:pPr lvl="2"/>
            <a:r>
              <a:rPr lang="en-US" altLang="fr-FR" smtClean="0"/>
              <a:t>Troisième niveau</a:t>
            </a:r>
          </a:p>
          <a:p>
            <a:pPr lvl="3"/>
            <a:r>
              <a:rPr lang="en-US" altLang="fr-FR" smtClean="0"/>
              <a:t>Quatrième niveau</a:t>
            </a:r>
          </a:p>
          <a:p>
            <a:pPr lvl="4"/>
            <a:r>
              <a:rPr lang="en-US" altLang="fr-FR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51975" y="7085013"/>
            <a:ext cx="565150" cy="25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1041271" eaLnBrk="1" hangingPunct="1">
              <a:defRPr sz="900">
                <a:solidFill>
                  <a:srgbClr val="444492"/>
                </a:solidFill>
              </a:defRPr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9FE166AD-C445-428F-B063-1DA85C29CDCE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  <p:pic>
        <p:nvPicPr>
          <p:cNvPr id="1029" name="Picture 45" descr="SANOFI_Logo_H_2011_Quadri copie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16750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214" r:id="rId1"/>
    <p:sldLayoutId id="2147487215" r:id="rId2"/>
    <p:sldLayoutId id="2147487216" r:id="rId3"/>
    <p:sldLayoutId id="2147487217" r:id="rId4"/>
    <p:sldLayoutId id="2147487218" r:id="rId5"/>
    <p:sldLayoutId id="2147487219" r:id="rId6"/>
    <p:sldLayoutId id="2147487220" r:id="rId7"/>
    <p:sldLayoutId id="2147487221" r:id="rId8"/>
    <p:sldLayoutId id="2147487222" r:id="rId9"/>
    <p:sldLayoutId id="2147487223" r:id="rId10"/>
    <p:sldLayoutId id="2147487224" r:id="rId11"/>
    <p:sldLayoutId id="2147487225" r:id="rId12"/>
    <p:sldLayoutId id="2147487226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ea typeface="MS PGothic" panose="020B0600070205080204" pitchFamily="34" charset="-128"/>
          <a:cs typeface="Arial" charset="0"/>
        </a:defRPr>
      </a:lvl5pPr>
      <a:lvl6pPr marL="5213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cs typeface="Arial" charset="0"/>
        </a:defRPr>
      </a:lvl6pPr>
      <a:lvl7pPr marL="104274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cs typeface="Arial" charset="0"/>
        </a:defRPr>
      </a:lvl7pPr>
      <a:lvl8pPr marL="156411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cs typeface="Arial" charset="0"/>
        </a:defRPr>
      </a:lvl8pPr>
      <a:lvl9pPr marL="208548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88938" indent="-3889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844550" indent="-3238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b="1">
          <a:solidFill>
            <a:srgbClr val="989898"/>
          </a:solidFill>
          <a:latin typeface="+mn-lt"/>
          <a:ea typeface="Arial" charset="0"/>
          <a:cs typeface="+mn-cs"/>
        </a:defRPr>
      </a:lvl2pPr>
      <a:lvl3pPr marL="1301750" indent="-258763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>
          <a:solidFill>
            <a:srgbClr val="989898"/>
          </a:solidFill>
          <a:latin typeface="+mn-lt"/>
          <a:ea typeface="Arial" charset="0"/>
          <a:cs typeface="+mn-cs"/>
        </a:defRPr>
      </a:lvl3pPr>
      <a:lvl4pPr marL="1822450" indent="-2587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rgbClr val="989898"/>
          </a:solidFill>
          <a:latin typeface="+mn-lt"/>
          <a:ea typeface="Arial" charset="0"/>
          <a:cs typeface="+mn-cs"/>
        </a:defRPr>
      </a:lvl4pPr>
      <a:lvl5pPr marL="2344738" indent="-2587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rgbClr val="989898"/>
          </a:solidFill>
          <a:latin typeface="+mn-lt"/>
          <a:ea typeface="Arial" charset="0"/>
          <a:cs typeface="+mn-cs"/>
        </a:defRPr>
      </a:lvl5pPr>
      <a:lvl6pPr marL="2867547" indent="-2606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800">
          <a:solidFill>
            <a:srgbClr val="989898"/>
          </a:solidFill>
          <a:latin typeface="+mn-lt"/>
          <a:cs typeface="+mn-cs"/>
        </a:defRPr>
      </a:lvl6pPr>
      <a:lvl7pPr marL="3388919" indent="-2606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800">
          <a:solidFill>
            <a:srgbClr val="989898"/>
          </a:solidFill>
          <a:latin typeface="+mn-lt"/>
          <a:cs typeface="+mn-cs"/>
        </a:defRPr>
      </a:lvl7pPr>
      <a:lvl8pPr marL="3910291" indent="-2606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800">
          <a:solidFill>
            <a:srgbClr val="989898"/>
          </a:solidFill>
          <a:latin typeface="+mn-lt"/>
          <a:cs typeface="+mn-cs"/>
        </a:defRPr>
      </a:lvl8pPr>
      <a:lvl9pPr marL="4431663" indent="-2606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8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9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6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3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5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8" descr="Vibration_CMJN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05175"/>
            <a:ext cx="6186488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7" descr="image00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5938" y="3224213"/>
            <a:ext cx="5092700" cy="127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196" r:id="rId1"/>
    <p:sldLayoutId id="2147487197" r:id="rId2"/>
    <p:sldLayoutId id="2147487198" r:id="rId3"/>
    <p:sldLayoutId id="2147487199" r:id="rId4"/>
    <p:sldLayoutId id="2147487200" r:id="rId5"/>
    <p:sldLayoutId id="2147487201" r:id="rId6"/>
    <p:sldLayoutId id="2147487202" r:id="rId7"/>
    <p:sldLayoutId id="2147487203" r:id="rId8"/>
    <p:sldLayoutId id="2147487204" r:id="rId9"/>
    <p:sldLayoutId id="2147487205" r:id="rId10"/>
    <p:sldLayoutId id="2147487206" r:id="rId11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5pPr>
      <a:lvl6pPr marL="521373" algn="ctr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6pPr>
      <a:lvl7pPr marL="1042744" algn="ctr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7pPr>
      <a:lvl8pPr marL="1564117" algn="ctr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8pPr>
      <a:lvl9pPr marL="2085489" algn="ctr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9pPr>
    </p:titleStyle>
    <p:bodyStyle>
      <a:lvl1pPr marL="390525" indent="-390525" algn="l" rtl="0" eaLnBrk="0" fontAlgn="base" hangingPunct="0">
        <a:spcBef>
          <a:spcPct val="20000"/>
        </a:spcBef>
        <a:spcAft>
          <a:spcPct val="0"/>
        </a:spcAft>
        <a:buChar char="•"/>
        <a:defRPr sz="3600">
          <a:solidFill>
            <a:schemeClr val="tx1"/>
          </a:solidFill>
          <a:latin typeface="+mn-lt"/>
          <a:ea typeface="+mn-ea"/>
          <a:cs typeface="+mn-cs"/>
        </a:defRPr>
      </a:lvl1pPr>
      <a:lvl2pPr marL="846138" indent="-325438" algn="l" rtl="0" eaLnBrk="0" fontAlgn="base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</a:defRPr>
      </a:lvl2pPr>
      <a:lvl3pPr marL="1303338" indent="-260350" algn="l" rtl="0" eaLnBrk="0" fontAlgn="base" hangingPunct="0">
        <a:spcBef>
          <a:spcPct val="2000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</a:defRPr>
      </a:lvl3pPr>
      <a:lvl4pPr marL="1824038" indent="-260350" algn="l" rtl="0" eaLnBrk="0" fontAlgn="base" hangingPunct="0">
        <a:spcBef>
          <a:spcPct val="20000"/>
        </a:spcBef>
        <a:spcAft>
          <a:spcPct val="0"/>
        </a:spcAft>
        <a:buChar char="–"/>
        <a:defRPr sz="2300">
          <a:solidFill>
            <a:schemeClr val="tx1"/>
          </a:solidFill>
          <a:latin typeface="+mn-lt"/>
        </a:defRPr>
      </a:lvl4pPr>
      <a:lvl5pPr marL="2344738" indent="-260350" algn="l" rtl="0" eaLnBrk="0" fontAlgn="base" hangingPunct="0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5pPr>
      <a:lvl6pPr marL="2867547" indent="-260685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6pPr>
      <a:lvl7pPr marL="3388919" indent="-260685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7pPr>
      <a:lvl8pPr marL="3910291" indent="-260685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8pPr>
      <a:lvl9pPr marL="4431663" indent="-260685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9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6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3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5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4988" y="303213"/>
            <a:ext cx="9618662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74" tIns="52138" rIns="104274" bIns="521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1963" y="1795463"/>
            <a:ext cx="9620250" cy="499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74" tIns="52138" rIns="104274" bIns="521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33895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59688" y="6886575"/>
            <a:ext cx="2493962" cy="5254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04274" tIns="52138" rIns="104274" bIns="52138" numCol="1" anchor="t" anchorCtr="0" compatLnSpc="1">
            <a:prstTxWarp prst="textNoShape">
              <a:avLst/>
            </a:prstTxWarp>
          </a:bodyPr>
          <a:lstStyle>
            <a:lvl1pPr algn="r" defTabSz="914400" eaLnBrk="0" hangingPunct="0">
              <a:defRPr sz="16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E7DE028-4DEF-4596-82A3-F642FD0A7F1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pic>
        <p:nvPicPr>
          <p:cNvPr id="3077" name="Picture 7" descr="LOGO_V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200" y="6878638"/>
            <a:ext cx="2230438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293688" y="6878638"/>
            <a:ext cx="841375" cy="525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74" tIns="52138" rIns="104274" bIns="52138"/>
          <a:lstStyle>
            <a:lvl1pPr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defTabSz="914400" eaLnBrk="1" hangingPunct="1">
              <a:defRPr/>
            </a:pPr>
            <a:fld id="{A661EF9A-B3F6-420C-BC71-2341775EA8CE}" type="slidenum">
              <a:rPr lang="fr-FR" altLang="fr-FR" smtClean="0">
                <a:solidFill>
                  <a:srgbClr val="000000"/>
                </a:solidFill>
                <a:latin typeface="Arial" charset="0"/>
              </a:rPr>
              <a:pPr algn="r" defTabSz="914400" eaLnBrk="1" hangingPunct="1">
                <a:defRPr/>
              </a:pPr>
              <a:t>‹N°›</a:t>
            </a:fld>
            <a:endParaRPr lang="fr-FR" altLang="fr-FR" smtClean="0">
              <a:solidFill>
                <a:srgbClr val="000000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227" r:id="rId1"/>
    <p:sldLayoutId id="2147487228" r:id="rId2"/>
    <p:sldLayoutId id="2147487229" r:id="rId3"/>
    <p:sldLayoutId id="2147487230" r:id="rId4"/>
    <p:sldLayoutId id="2147487231" r:id="rId5"/>
    <p:sldLayoutId id="2147487232" r:id="rId6"/>
    <p:sldLayoutId id="2147487233" r:id="rId7"/>
    <p:sldLayoutId id="2147487234" r:id="rId8"/>
    <p:sldLayoutId id="2147487235" r:id="rId9"/>
    <p:sldLayoutId id="2147487236" r:id="rId10"/>
    <p:sldLayoutId id="2147487237" r:id="rId11"/>
    <p:sldLayoutId id="2147487238" r:id="rId12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5pPr>
      <a:lvl6pPr marL="521373" algn="ctr" rtl="0" fontAlgn="base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6pPr>
      <a:lvl7pPr marL="1042744" algn="ctr" rtl="0" fontAlgn="base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7pPr>
      <a:lvl8pPr marL="1564117" algn="ctr" rtl="0" fontAlgn="base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8pPr>
      <a:lvl9pPr marL="2085489" algn="ctr" rtl="0" fontAlgn="base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9pPr>
    </p:titleStyle>
    <p:bodyStyle>
      <a:lvl1pPr marL="390525" indent="-390525" algn="l" rtl="0" eaLnBrk="0" fontAlgn="base" hangingPunct="0">
        <a:spcBef>
          <a:spcPct val="20000"/>
        </a:spcBef>
        <a:spcAft>
          <a:spcPct val="0"/>
        </a:spcAft>
        <a:buChar char="•"/>
        <a:defRPr sz="2300" b="1">
          <a:solidFill>
            <a:srgbClr val="7422A2"/>
          </a:solidFill>
          <a:latin typeface="+mn-lt"/>
          <a:ea typeface="+mn-ea"/>
          <a:cs typeface="+mn-cs"/>
        </a:defRPr>
      </a:lvl1pPr>
      <a:lvl2pPr marL="846138" indent="-325438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b="1">
          <a:solidFill>
            <a:schemeClr val="tx1"/>
          </a:solidFill>
          <a:latin typeface="Arial" charset="0"/>
        </a:defRPr>
      </a:lvl2pPr>
      <a:lvl3pPr marL="1303338" indent="-26035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Arial" charset="0"/>
        </a:defRPr>
      </a:lvl3pPr>
      <a:lvl4pPr marL="1824038" indent="-26035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Arial" charset="0"/>
        </a:defRPr>
      </a:lvl4pPr>
      <a:lvl5pPr marL="2344738" indent="-26035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Arial" charset="0"/>
        </a:defRPr>
      </a:lvl5pPr>
      <a:lvl6pPr marL="2867547" indent="-260685" algn="l" rtl="0" fontAlgn="base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Arial" charset="0"/>
        </a:defRPr>
      </a:lvl6pPr>
      <a:lvl7pPr marL="3388919" indent="-260685" algn="l" rtl="0" fontAlgn="base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Arial" charset="0"/>
        </a:defRPr>
      </a:lvl7pPr>
      <a:lvl8pPr marL="3910291" indent="-260685" algn="l" rtl="0" fontAlgn="base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Arial" charset="0"/>
        </a:defRPr>
      </a:lvl8pPr>
      <a:lvl9pPr marL="4431663" indent="-260685" algn="l" rtl="0" fontAlgn="base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9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6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3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5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239" r:id="rId1"/>
    <p:sldLayoutId id="2147487240" r:id="rId2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5pPr>
      <a:lvl6pPr marL="472868" algn="ctr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6pPr>
      <a:lvl7pPr marL="945735" algn="ctr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7pPr>
      <a:lvl8pPr marL="1418604" algn="ctr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8pPr>
      <a:lvl9pPr marL="1891473" algn="ctr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9pPr>
    </p:titleStyle>
    <p:bodyStyle>
      <a:lvl1pPr marL="354013" indent="-3540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768350" indent="-295275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81100" indent="-2349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54175" indent="-2349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27250" indent="-2349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0776" indent="-236434" algn="l" defTabSz="94573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73643" indent="-236434" algn="l" defTabSz="94573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46513" indent="-236434" algn="l" defTabSz="94573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19379" indent="-236434" algn="l" defTabSz="94573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2868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5735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18604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1473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64341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7209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10078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82945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241" r:id="rId1"/>
    <p:sldLayoutId id="2147487242" r:id="rId2"/>
    <p:sldLayoutId id="2147487243" r:id="rId3"/>
    <p:sldLayoutId id="2147487244" r:id="rId4"/>
    <p:sldLayoutId id="2147487245" r:id="rId5"/>
  </p:sldLayoutIdLst>
  <p:hf sldNum="0" hdr="0" ftr="0" dt="0"/>
  <p:txStyles>
    <p:titleStyle>
      <a:lvl1pPr algn="ctr" defTabSz="520700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52070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2pPr>
      <a:lvl3pPr algn="ctr" defTabSz="52070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3pPr>
      <a:lvl4pPr algn="ctr" defTabSz="52070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4pPr>
      <a:lvl5pPr algn="ctr" defTabSz="52070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5pPr>
      <a:lvl6pPr marL="457200" algn="ctr" defTabSz="52070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6pPr>
      <a:lvl7pPr marL="914400" algn="ctr" defTabSz="52070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7pPr>
      <a:lvl8pPr marL="1371600" algn="ctr" defTabSz="52070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8pPr>
      <a:lvl9pPr marL="1828800" algn="ctr" defTabSz="52070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9pPr>
    </p:titleStyle>
    <p:bodyStyle>
      <a:lvl1pPr marL="390525" indent="-390525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6138" indent="-32543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3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40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325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977900" y="690563"/>
            <a:ext cx="9263063" cy="354012"/>
          </a:xfrm>
        </p:spPr>
        <p:txBody>
          <a:bodyPr>
            <a:noAutofit/>
          </a:bodyPr>
          <a:lstStyle/>
          <a:p>
            <a:pPr algn="ctr" defTabSz="521437" eaLnBrk="1" fontAlgn="auto" hangingPunct="1">
              <a:spcAft>
                <a:spcPts val="0"/>
              </a:spcAft>
              <a:defRPr/>
            </a:pPr>
            <a:r>
              <a:rPr lang="fr-FR" sz="2800" b="1" dirty="0" err="1" smtClean="0"/>
              <a:t>Cniv</a:t>
            </a:r>
            <a:r>
              <a:rPr lang="fr-FR" sz="2800" b="1" dirty="0" smtClean="0"/>
              <a:t> </a:t>
            </a:r>
            <a:r>
              <a:rPr lang="fr-FR" sz="2800" b="1" dirty="0" smtClean="0"/>
              <a:t>2017</a:t>
            </a:r>
            <a:r>
              <a:rPr lang="fr-FR" sz="2400" b="1" dirty="0" smtClean="0"/>
              <a:t/>
            </a:r>
            <a:br>
              <a:rPr lang="fr-FR" sz="2400" b="1" dirty="0" smtClean="0"/>
            </a:br>
            <a:r>
              <a:rPr lang="fr-FR" sz="2400" b="1" dirty="0" smtClean="0"/>
              <a:t>« </a:t>
            </a:r>
            <a:r>
              <a:rPr lang="fr-FR" sz="2400" b="1" dirty="0" smtClean="0"/>
              <a:t>2</a:t>
            </a:r>
            <a:r>
              <a:rPr lang="fr-FR" sz="2400" b="1" baseline="30000" dirty="0" smtClean="0"/>
              <a:t>ème</a:t>
            </a:r>
            <a:r>
              <a:rPr lang="fr-FR" sz="2400" b="1" dirty="0" smtClean="0"/>
              <a:t> </a:t>
            </a:r>
            <a:r>
              <a:rPr lang="fr-FR" sz="2400" b="1" dirty="0" smtClean="0"/>
              <a:t>congrès national d’imagerie du vivant</a:t>
            </a:r>
            <a:r>
              <a:rPr lang="fr-FR" sz="2400" b="1" i="1" dirty="0" smtClean="0"/>
              <a:t> </a:t>
            </a:r>
            <a:r>
              <a:rPr lang="fr-FR" sz="2400" b="1" dirty="0" smtClean="0"/>
              <a:t>»</a:t>
            </a:r>
            <a:r>
              <a:rPr lang="fr-FR" sz="2400" b="1" dirty="0"/>
              <a:t/>
            </a:r>
            <a:br>
              <a:rPr lang="fr-FR" sz="2400" b="1" dirty="0"/>
            </a:br>
            <a:r>
              <a:rPr lang="fr-FR" sz="1400" b="1" dirty="0" smtClean="0"/>
              <a:t>8 – 9 novembre 2017 </a:t>
            </a:r>
            <a:r>
              <a:rPr lang="fr-FR" sz="1400" b="1" dirty="0" smtClean="0"/>
              <a:t>– </a:t>
            </a:r>
            <a:r>
              <a:rPr lang="fr-FR" sz="1400" b="1" dirty="0" smtClean="0"/>
              <a:t>institut pasteur (</a:t>
            </a:r>
            <a:r>
              <a:rPr lang="fr-FR" sz="1400" b="1" dirty="0" smtClean="0"/>
              <a:t>Paris)</a:t>
            </a:r>
            <a:br>
              <a:rPr lang="fr-FR" sz="1400" b="1" dirty="0" smtClean="0"/>
            </a:br>
            <a:r>
              <a:rPr lang="fr-FR" sz="1400" b="1" dirty="0" smtClean="0"/>
              <a:t/>
            </a:r>
            <a:br>
              <a:rPr lang="fr-FR" sz="1400" b="1" dirty="0" smtClean="0"/>
            </a:br>
            <a:r>
              <a:rPr lang="fr-FR" sz="2000" dirty="0"/>
              <a:t/>
            </a:r>
            <a:br>
              <a:rPr lang="fr-FR" sz="2000" dirty="0"/>
            </a:br>
            <a:r>
              <a:rPr lang="fr-FR" sz="2400" dirty="0"/>
              <a:t/>
            </a:r>
            <a:br>
              <a:rPr lang="fr-FR" sz="2400" dirty="0"/>
            </a:br>
            <a:r>
              <a:rPr lang="fr-FR" sz="2400" b="1" dirty="0" smtClean="0"/>
              <a:t/>
            </a:r>
            <a:br>
              <a:rPr lang="fr-FR" sz="2400" b="1" dirty="0" smtClean="0"/>
            </a:br>
            <a:endParaRPr lang="fr-FR" sz="2400" b="1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977900" y="3852664"/>
            <a:ext cx="8399463" cy="504825"/>
          </a:xfrm>
        </p:spPr>
        <p:txBody>
          <a:bodyPr>
            <a:noAutofit/>
          </a:bodyPr>
          <a:lstStyle/>
          <a:p>
            <a:pPr algn="ctr" defTabSz="521437" eaLnBrk="1" fontAlgn="auto" hangingPunct="1">
              <a:spcAft>
                <a:spcPts val="0"/>
              </a:spcAft>
              <a:defRPr/>
            </a:pPr>
            <a:r>
              <a:rPr lang="fr-FR" sz="2000" b="1" dirty="0">
                <a:ea typeface="+mj-ea"/>
                <a:cs typeface="+mj-cs"/>
              </a:rPr>
              <a:t>Appel à Manifestation d’Intérêt</a:t>
            </a:r>
            <a:r>
              <a:rPr lang="fr-FR" sz="2400" b="1" dirty="0"/>
              <a:t/>
            </a:r>
            <a:br>
              <a:rPr lang="fr-FR" sz="2400" b="1" dirty="0"/>
            </a:br>
            <a:r>
              <a:rPr lang="fr-FR" sz="2400" dirty="0">
                <a:solidFill>
                  <a:srgbClr val="FF0000"/>
                </a:solidFill>
                <a:ea typeface="+mj-ea"/>
                <a:cs typeface="+mj-cs"/>
              </a:rPr>
              <a:t>proposition de projet </a:t>
            </a:r>
          </a:p>
          <a:p>
            <a:pPr algn="ctr" defTabSz="521437" eaLnBrk="1" fontAlgn="auto" hangingPunct="1">
              <a:spcAft>
                <a:spcPts val="0"/>
              </a:spcAft>
              <a:defRPr/>
            </a:pPr>
            <a:endParaRPr lang="fr-FR" sz="2400" i="1" dirty="0" smtClean="0"/>
          </a:p>
          <a:p>
            <a:pPr algn="ctr" defTabSz="521437" eaLnBrk="1" fontAlgn="auto" hangingPunct="1">
              <a:spcAft>
                <a:spcPts val="0"/>
              </a:spcAft>
              <a:defRPr/>
            </a:pPr>
            <a:r>
              <a:rPr lang="fr-FR" sz="2400" i="1" dirty="0" smtClean="0"/>
              <a:t>Nom de l’entreprise</a:t>
            </a:r>
            <a:endParaRPr lang="fr-FR" sz="2400" b="1" i="1" dirty="0" smtClean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5725641"/>
            <a:ext cx="10688638" cy="1837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77900" y="455613"/>
            <a:ext cx="6946900" cy="354012"/>
          </a:xfrm>
        </p:spPr>
        <p:txBody>
          <a:bodyPr>
            <a:normAutofit fontScale="90000"/>
          </a:bodyPr>
          <a:lstStyle/>
          <a:p>
            <a:pPr defTabSz="521437" eaLnBrk="1" fontAlgn="auto" hangingPunct="1">
              <a:spcAft>
                <a:spcPts val="0"/>
              </a:spcAft>
              <a:defRPr/>
            </a:pPr>
            <a:r>
              <a:rPr lang="fr-FR" altLang="fr-FR" sz="2600" dirty="0" smtClean="0">
                <a:cs typeface="Arial" pitchFamily="34" charset="0"/>
              </a:rPr>
              <a:t>1. Le projet</a:t>
            </a:r>
            <a:endParaRPr lang="fr-FR" dirty="0"/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>
          <a:xfrm>
            <a:off x="977900" y="820738"/>
            <a:ext cx="6946900" cy="287337"/>
          </a:xfrm>
        </p:spPr>
        <p:txBody>
          <a:bodyPr/>
          <a:lstStyle/>
          <a:p>
            <a:pPr>
              <a:defRPr/>
            </a:pPr>
            <a:endParaRPr lang="fr-FR" dirty="0" smtClean="0"/>
          </a:p>
          <a:p>
            <a:pPr>
              <a:defRPr/>
            </a:pP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376238" y="1693863"/>
            <a:ext cx="10009187" cy="57800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2" indent="-342900" algn="just" defTabSz="520700">
              <a:spcAft>
                <a:spcPts val="1375"/>
              </a:spcAft>
              <a:buClr>
                <a:srgbClr val="005073"/>
              </a:buClr>
              <a:buFont typeface="Arial" panose="020B0604020202020204" pitchFamily="34" charset="0"/>
              <a:buChar char="•"/>
              <a:defRPr/>
            </a:pPr>
            <a:r>
              <a:rPr lang="fr-FR" sz="2300" b="1" i="1" dirty="0">
                <a:solidFill>
                  <a:srgbClr val="2A22D9"/>
                </a:solidFill>
                <a:latin typeface="DIN Next LT Pro Light"/>
                <a:ea typeface="+mn-ea"/>
              </a:rPr>
              <a:t>Thématique / Titre du projet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 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endParaRPr lang="fr-FR" sz="2300" dirty="0">
              <a:solidFill>
                <a:srgbClr val="2A22D9"/>
              </a:solidFill>
              <a:latin typeface="DIN Next LT Pro Light"/>
              <a:ea typeface="+mn-ea"/>
            </a:endParaRPr>
          </a:p>
          <a:p>
            <a:pPr marL="342900" lvl="2" indent="-342900" algn="just" defTabSz="520700">
              <a:spcAft>
                <a:spcPts val="1375"/>
              </a:spcAft>
              <a:buClr>
                <a:srgbClr val="005073"/>
              </a:buClr>
              <a:buFont typeface="Arial" panose="020B0604020202020204" pitchFamily="34" charset="0"/>
              <a:buChar char="•"/>
              <a:defRPr/>
            </a:pPr>
            <a:r>
              <a:rPr lang="fr-FR" sz="2300" b="1" i="1" dirty="0">
                <a:solidFill>
                  <a:srgbClr val="2A22D9"/>
                </a:solidFill>
                <a:latin typeface="DIN Next LT Pro Light"/>
                <a:ea typeface="+mn-ea"/>
              </a:rPr>
              <a:t>Objectifs</a:t>
            </a:r>
          </a:p>
          <a:p>
            <a:pPr marL="0" lvl="3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</a:t>
            </a:r>
          </a:p>
          <a:p>
            <a:pPr marL="0" lvl="3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</a:t>
            </a:r>
          </a:p>
          <a:p>
            <a:pPr marL="342900" lvl="2" indent="-342900" algn="just" defTabSz="520700">
              <a:spcAft>
                <a:spcPts val="1375"/>
              </a:spcAft>
              <a:buClr>
                <a:srgbClr val="005073"/>
              </a:buClr>
              <a:buFont typeface="Arial" panose="020B0604020202020204" pitchFamily="34" charset="0"/>
              <a:buChar char="•"/>
              <a:defRPr/>
            </a:pPr>
            <a:endParaRPr lang="fr-FR" sz="2300" b="1" dirty="0">
              <a:solidFill>
                <a:srgbClr val="2A22D9"/>
              </a:solidFill>
              <a:latin typeface="DIN Next LT Pro Light"/>
              <a:ea typeface="+mn-ea"/>
            </a:endParaRPr>
          </a:p>
          <a:p>
            <a:pPr marL="342900" lvl="2" indent="-342900" algn="just" defTabSz="520700">
              <a:spcAft>
                <a:spcPts val="1375"/>
              </a:spcAft>
              <a:buClr>
                <a:srgbClr val="005073"/>
              </a:buClr>
              <a:buFont typeface="Arial" panose="020B0604020202020204" pitchFamily="34" charset="0"/>
              <a:buChar char="•"/>
              <a:defRPr/>
            </a:pPr>
            <a:r>
              <a:rPr lang="fr-FR" sz="2300" b="1" i="1" dirty="0">
                <a:solidFill>
                  <a:srgbClr val="2A22D9"/>
                </a:solidFill>
                <a:latin typeface="DIN Next LT Pro Light"/>
                <a:ea typeface="+mn-ea"/>
              </a:rPr>
              <a:t>Livrables</a:t>
            </a:r>
          </a:p>
          <a:p>
            <a:pPr marL="0" lvl="3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</a:t>
            </a:r>
          </a:p>
          <a:p>
            <a:pPr marL="0" lvl="3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</a:t>
            </a:r>
          </a:p>
        </p:txBody>
      </p:sp>
      <p:pic>
        <p:nvPicPr>
          <p:cNvPr id="39941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850" y="254000"/>
            <a:ext cx="1158875" cy="87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77900" y="455613"/>
            <a:ext cx="6946900" cy="354012"/>
          </a:xfrm>
        </p:spPr>
        <p:txBody>
          <a:bodyPr>
            <a:normAutofit fontScale="90000"/>
          </a:bodyPr>
          <a:lstStyle/>
          <a:p>
            <a:pPr defTabSz="521437" eaLnBrk="1" fontAlgn="auto" hangingPunct="1">
              <a:spcAft>
                <a:spcPts val="0"/>
              </a:spcAft>
              <a:defRPr/>
            </a:pPr>
            <a:r>
              <a:rPr lang="fr-FR" altLang="fr-FR" sz="2600" dirty="0" smtClean="0">
                <a:cs typeface="Arial" pitchFamily="34" charset="0"/>
              </a:rPr>
              <a:t>2. Le consortium</a:t>
            </a:r>
            <a:endParaRPr lang="fr-FR" dirty="0"/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>
          <a:xfrm>
            <a:off x="977900" y="820738"/>
            <a:ext cx="6946900" cy="287337"/>
          </a:xfrm>
        </p:spPr>
        <p:txBody>
          <a:bodyPr/>
          <a:lstStyle/>
          <a:p>
            <a:pPr>
              <a:defRPr/>
            </a:pP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376238" y="1693863"/>
            <a:ext cx="10009187" cy="22256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2" indent="-342900" algn="just" defTabSz="520700">
              <a:spcAft>
                <a:spcPts val="1375"/>
              </a:spcAft>
              <a:buClr>
                <a:srgbClr val="005073"/>
              </a:buClr>
              <a:buFont typeface="Arial" panose="020B0604020202020204" pitchFamily="34" charset="0"/>
              <a:buChar char="•"/>
              <a:defRPr/>
            </a:pPr>
            <a:r>
              <a:rPr lang="fr-FR" sz="2300" b="1" i="1" dirty="0">
                <a:solidFill>
                  <a:srgbClr val="2A22D9"/>
                </a:solidFill>
                <a:latin typeface="DIN Next LT Pro Light"/>
                <a:ea typeface="+mn-ea"/>
              </a:rPr>
              <a:t>Partenaires privés et/ou académiques (contact…)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 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endParaRPr lang="fr-FR" sz="2300" dirty="0">
              <a:solidFill>
                <a:srgbClr val="2A22D9"/>
              </a:solidFill>
              <a:latin typeface="DIN Next LT Pro Light"/>
              <a:ea typeface="+mn-ea"/>
            </a:endParaRPr>
          </a:p>
        </p:txBody>
      </p:sp>
      <p:pic>
        <p:nvPicPr>
          <p:cNvPr id="4096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850" y="254000"/>
            <a:ext cx="1158875" cy="87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77900" y="455613"/>
            <a:ext cx="6946900" cy="354012"/>
          </a:xfrm>
        </p:spPr>
        <p:txBody>
          <a:bodyPr>
            <a:normAutofit fontScale="90000"/>
          </a:bodyPr>
          <a:lstStyle/>
          <a:p>
            <a:pPr defTabSz="521437" eaLnBrk="1" fontAlgn="auto" hangingPunct="1">
              <a:spcAft>
                <a:spcPts val="0"/>
              </a:spcAft>
              <a:defRPr/>
            </a:pPr>
            <a:r>
              <a:rPr lang="fr-FR" altLang="fr-FR" sz="2600" dirty="0" smtClean="0">
                <a:cs typeface="Arial" pitchFamily="34" charset="0"/>
              </a:rPr>
              <a:t>3. Compétences recherchées</a:t>
            </a:r>
            <a:endParaRPr lang="fr-FR" dirty="0"/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>
          <a:xfrm>
            <a:off x="977900" y="820738"/>
            <a:ext cx="6946900" cy="287337"/>
          </a:xfrm>
        </p:spPr>
        <p:txBody>
          <a:bodyPr/>
          <a:lstStyle/>
          <a:p>
            <a:pPr>
              <a:defRPr/>
            </a:pP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376238" y="1693863"/>
            <a:ext cx="10009187" cy="2046714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2" indent="-342900" algn="just" defTabSz="520700">
              <a:spcAft>
                <a:spcPts val="1375"/>
              </a:spcAft>
              <a:buClr>
                <a:srgbClr val="005073"/>
              </a:buClr>
              <a:buFont typeface="Arial" panose="020B0604020202020204" pitchFamily="34" charset="0"/>
              <a:buChar char="•"/>
              <a:defRPr/>
            </a:pPr>
            <a:r>
              <a:rPr lang="fr-FR" sz="2300" b="1" i="1" dirty="0" smtClean="0">
                <a:solidFill>
                  <a:srgbClr val="2A22D9"/>
                </a:solidFill>
                <a:latin typeface="DIN Next LT Pro Light"/>
                <a:ea typeface="+mn-ea"/>
              </a:rPr>
              <a:t>Recherche compétences suivantes </a:t>
            </a:r>
            <a:r>
              <a:rPr lang="fr-FR" sz="2300" b="1" i="1" dirty="0">
                <a:solidFill>
                  <a:srgbClr val="2A22D9"/>
                </a:solidFill>
                <a:latin typeface="DIN Next LT Pro Light"/>
                <a:ea typeface="+mn-ea"/>
              </a:rPr>
              <a:t>: 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 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endParaRPr lang="fr-FR" sz="2300" dirty="0">
              <a:solidFill>
                <a:srgbClr val="2A22D9"/>
              </a:solidFill>
              <a:latin typeface="DIN Next LT Pro Light"/>
              <a:ea typeface="+mn-ea"/>
            </a:endParaRPr>
          </a:p>
        </p:txBody>
      </p:sp>
      <p:pic>
        <p:nvPicPr>
          <p:cNvPr id="41989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850" y="254000"/>
            <a:ext cx="1158875" cy="87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977900" y="455613"/>
            <a:ext cx="6946900" cy="354012"/>
          </a:xfrm>
        </p:spPr>
        <p:txBody>
          <a:bodyPr>
            <a:normAutofit fontScale="90000"/>
          </a:bodyPr>
          <a:lstStyle/>
          <a:p>
            <a:pPr defTabSz="521437" eaLnBrk="1" fontAlgn="auto" hangingPunct="1">
              <a:spcAft>
                <a:spcPts val="0"/>
              </a:spcAft>
              <a:defRPr/>
            </a:pPr>
            <a:r>
              <a:rPr lang="fr-FR" altLang="fr-FR" sz="2600" dirty="0" smtClean="0">
                <a:cs typeface="Arial" pitchFamily="34" charset="0"/>
              </a:rPr>
              <a:t>4. </a:t>
            </a:r>
            <a:r>
              <a:rPr lang="fr-FR" altLang="fr-FR" sz="2600" smtClean="0">
                <a:cs typeface="Arial" pitchFamily="34" charset="0"/>
              </a:rPr>
              <a:t>Contact</a:t>
            </a:r>
            <a:endParaRPr lang="fr-FR" dirty="0"/>
          </a:p>
        </p:txBody>
      </p:sp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>
          <a:xfrm>
            <a:off x="977900" y="820738"/>
            <a:ext cx="6946900" cy="287337"/>
          </a:xfrm>
        </p:spPr>
        <p:txBody>
          <a:bodyPr/>
          <a:lstStyle/>
          <a:p>
            <a:pPr>
              <a:defRPr/>
            </a:pPr>
            <a:endParaRPr lang="fr-FR" dirty="0"/>
          </a:p>
        </p:txBody>
      </p:sp>
      <p:sp>
        <p:nvSpPr>
          <p:cNvPr id="3" name="Rectangle 2"/>
          <p:cNvSpPr/>
          <p:nvPr/>
        </p:nvSpPr>
        <p:spPr>
          <a:xfrm>
            <a:off x="376238" y="1693863"/>
            <a:ext cx="10009187" cy="20462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lvl="2" indent="-342900" algn="just" defTabSz="520700">
              <a:spcAft>
                <a:spcPts val="1375"/>
              </a:spcAft>
              <a:buClr>
                <a:srgbClr val="005073"/>
              </a:buClr>
              <a:buFont typeface="Arial" panose="020B0604020202020204" pitchFamily="34" charset="0"/>
              <a:buChar char="•"/>
              <a:defRPr/>
            </a:pPr>
            <a:r>
              <a:rPr lang="fr-FR" sz="2300" b="1" i="1" dirty="0">
                <a:solidFill>
                  <a:srgbClr val="2A22D9"/>
                </a:solidFill>
                <a:latin typeface="DIN Next LT Pro Light"/>
                <a:ea typeface="+mn-ea"/>
              </a:rPr>
              <a:t>Adresse, mail, téléphone : 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r>
              <a:rPr lang="fr-FR" sz="2300" dirty="0">
                <a:solidFill>
                  <a:srgbClr val="2A22D9"/>
                </a:solidFill>
                <a:latin typeface="DIN Next LT Pro Light"/>
                <a:ea typeface="+mn-ea"/>
              </a:rPr>
              <a:t>	- </a:t>
            </a:r>
          </a:p>
          <a:p>
            <a:pPr marL="0" lvl="2" indent="0" algn="just" defTabSz="520700">
              <a:spcAft>
                <a:spcPts val="1375"/>
              </a:spcAft>
              <a:buClr>
                <a:srgbClr val="005073"/>
              </a:buClr>
              <a:defRPr/>
            </a:pPr>
            <a:endParaRPr lang="fr-FR" sz="2300" dirty="0">
              <a:solidFill>
                <a:srgbClr val="2A22D9"/>
              </a:solidFill>
              <a:latin typeface="DIN Next LT Pro Light"/>
              <a:ea typeface="+mn-ea"/>
            </a:endParaRPr>
          </a:p>
        </p:txBody>
      </p:sp>
      <p:pic>
        <p:nvPicPr>
          <p:cNvPr id="43013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850" y="254000"/>
            <a:ext cx="1158875" cy="871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1F.2w_30OF9kZiuAuW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.ADWilh02tFfugy5iR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rMsdcQUS1Yw8igdBCAg"/>
</p:tagLst>
</file>

<file path=ppt/theme/theme1.xml><?xml version="1.0" encoding="utf-8"?>
<a:theme xmlns:a="http://schemas.openxmlformats.org/drawingml/2006/main" name="1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masque medicen [Lecture seule]" id="{4C7E2635-A0EA-4A59-8CDE-D9810E717A82}" vid="{BD58B48C-6F90-44D9-8F5F-39CD7364AD15}"/>
    </a:ext>
  </a:extLst>
</a:theme>
</file>

<file path=ppt/theme/theme2.xml><?xml version="1.0" encoding="utf-8"?>
<a:theme xmlns:a="http://schemas.openxmlformats.org/drawingml/2006/main" name="One-IS Template">
  <a:themeElements>
    <a:clrScheme name="Sanofi_Presentation_Blu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Sanofi_Presentation_Blu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anofi_Presentation_Blu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onception personnalisée">
  <a:themeElements>
    <a:clrScheme name="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nception personnalisé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edicen">
  <a:themeElements>
    <a:clrScheme name="Personnalisée 3">
      <a:dk1>
        <a:srgbClr val="2A22D9"/>
      </a:dk1>
      <a:lt1>
        <a:srgbClr val="FFFFFF"/>
      </a:lt1>
      <a:dk2>
        <a:srgbClr val="2A22D9"/>
      </a:dk2>
      <a:lt2>
        <a:srgbClr val="FB4409"/>
      </a:lt2>
      <a:accent1>
        <a:srgbClr val="2A22D9"/>
      </a:accent1>
      <a:accent2>
        <a:srgbClr val="FB4409"/>
      </a:accent2>
      <a:accent3>
        <a:srgbClr val="65FBAC"/>
      </a:accent3>
      <a:accent4>
        <a:srgbClr val="EE8EF6"/>
      </a:accent4>
      <a:accent5>
        <a:srgbClr val="4CE8F8"/>
      </a:accent5>
      <a:accent6>
        <a:srgbClr val="A99BF7"/>
      </a:accent6>
      <a:hlink>
        <a:srgbClr val="FB4409"/>
      </a:hlink>
      <a:folHlink>
        <a:srgbClr val="FFFFFF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t" anchorCtr="0">
        <a:normAutofit lnSpcReduction="10000"/>
      </a:bodyPr>
      <a:lstStyle>
        <a:defPPr algn="l">
          <a:defRPr sz="1400" cap="all" baseline="0" dirty="0" smtClean="0">
            <a:solidFill>
              <a:srgbClr val="FB4409"/>
            </a:solidFill>
            <a:latin typeface="DIN Next LT Pro Ligh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que medicen</Template>
  <TotalTime>4899</TotalTime>
  <Words>43</Words>
  <Application>Microsoft Office PowerPoint</Application>
  <PresentationFormat>Personnalisé</PresentationFormat>
  <Paragraphs>28</Paragraphs>
  <Slides>5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5</vt:i4>
      </vt:variant>
    </vt:vector>
  </HeadingPairs>
  <TitlesOfParts>
    <vt:vector size="12" baseType="lpstr">
      <vt:lpstr>1_Thème Office</vt:lpstr>
      <vt:lpstr>One-IS Template</vt:lpstr>
      <vt:lpstr>Conception personnalisée</vt:lpstr>
      <vt:lpstr>1_Conception personnalisée</vt:lpstr>
      <vt:lpstr>4_Conception personnalisée</vt:lpstr>
      <vt:lpstr>Medicen</vt:lpstr>
      <vt:lpstr>think-cell Slide</vt:lpstr>
      <vt:lpstr>Cniv 2017 « 2ème congrès national d’imagerie du vivant » 8 – 9 novembre 2017 – institut pasteur (Paris)     </vt:lpstr>
      <vt:lpstr>1. Le projet</vt:lpstr>
      <vt:lpstr>2. Le consortium</vt:lpstr>
      <vt:lpstr>3. Compétences recherchées</vt:lpstr>
      <vt:lpstr>4. Contac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maines d’Actions Stratégiques 2014 - 2018</dc:title>
  <dc:creator>Jean Roch MEUNIER</dc:creator>
  <cp:lastModifiedBy>Alexandre da Costa</cp:lastModifiedBy>
  <cp:revision>212</cp:revision>
  <cp:lastPrinted>2014-02-10T09:54:12Z</cp:lastPrinted>
  <dcterms:created xsi:type="dcterms:W3CDTF">2013-12-08T12:35:44Z</dcterms:created>
  <dcterms:modified xsi:type="dcterms:W3CDTF">2017-05-10T10:11:31Z</dcterms:modified>
</cp:coreProperties>
</file>